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6" r:id="rId4"/>
  </p:sldMasterIdLst>
  <p:notesMasterIdLst>
    <p:notesMasterId r:id="rId17"/>
  </p:notesMasterIdLst>
  <p:sldIdLst>
    <p:sldId id="850" r:id="rId5"/>
    <p:sldId id="852" r:id="rId6"/>
    <p:sldId id="853" r:id="rId7"/>
    <p:sldId id="857" r:id="rId8"/>
    <p:sldId id="856" r:id="rId9"/>
    <p:sldId id="854" r:id="rId10"/>
    <p:sldId id="855" r:id="rId11"/>
    <p:sldId id="861" r:id="rId12"/>
    <p:sldId id="860" r:id="rId13"/>
    <p:sldId id="858" r:id="rId14"/>
    <p:sldId id="859" r:id="rId15"/>
    <p:sldId id="863" r:id="rId16"/>
  </p:sldIdLst>
  <p:sldSz cx="12192000" cy="6858000"/>
  <p:notesSz cx="6794500" cy="99314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7493212-6748-4A5B-A58C-3E5C15E0DE93}">
          <p14:sldIdLst>
            <p14:sldId id="850"/>
            <p14:sldId id="852"/>
            <p14:sldId id="853"/>
            <p14:sldId id="857"/>
            <p14:sldId id="856"/>
            <p14:sldId id="854"/>
            <p14:sldId id="855"/>
            <p14:sldId id="861"/>
            <p14:sldId id="860"/>
            <p14:sldId id="858"/>
            <p14:sldId id="859"/>
            <p14:sldId id="863"/>
          </p14:sldIdLst>
        </p14:section>
        <p14:section name="Backup" id="{9C804D8C-36B9-4FE6-BA8C-DCA43B179776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f, Catrin (Extern)" initials="JR" lastIdx="1" clrIdx="0"/>
  <p:cmAuthor id="2" name="Sodhi, Tajinder" initials="ST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BD67"/>
    <a:srgbClr val="11703C"/>
    <a:srgbClr val="19944F"/>
    <a:srgbClr val="F2F2F2"/>
    <a:srgbClr val="7F7F7F"/>
    <a:srgbClr val="00338D"/>
    <a:srgbClr val="0D0D0D"/>
    <a:srgbClr val="050505"/>
    <a:srgbClr val="FFD100"/>
    <a:srgbClr val="7AC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798" autoAdjust="0"/>
    <p:restoredTop sz="94095" autoAdjust="0"/>
  </p:normalViewPr>
  <p:slideViewPr>
    <p:cSldViewPr showGuides="1">
      <p:cViewPr>
        <p:scale>
          <a:sx n="75" d="100"/>
          <a:sy n="75" d="100"/>
        </p:scale>
        <p:origin x="710" y="3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4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934495-E1D3-465A-B5E2-228B899B1DE5}" type="datetimeFigureOut">
              <a:rPr lang="de-DE" smtClean="0"/>
              <a:t>07.11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DA0F6B-A1DA-46D8-9463-0A6E2C0B6D5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40102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- Singula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85"/>
          <a:stretch/>
        </p:blipFill>
        <p:spPr>
          <a:xfrm>
            <a:off x="2257887" y="1"/>
            <a:ext cx="9934113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60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/>
          <p:nvPr userDrawn="1"/>
        </p:nvSpPr>
        <p:spPr>
          <a:xfrm>
            <a:off x="0" y="1"/>
            <a:ext cx="42958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551384" y="1435300"/>
            <a:ext cx="3528392" cy="3510000"/>
          </a:xfrm>
        </p:spPr>
        <p:txBody>
          <a:bodyPr anchor="t" anchorCtr="0"/>
          <a:lstStyle>
            <a:lvl1pPr algn="l">
              <a:defRPr sz="11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singular </a:t>
            </a:r>
            <a:br>
              <a:rPr lang="en-US" dirty="0"/>
            </a:br>
            <a:r>
              <a:rPr lang="en-US" dirty="0"/>
              <a:t>image</a:t>
            </a: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590984" y="5390900"/>
            <a:ext cx="3488792" cy="216000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3386057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257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5363" y="1322388"/>
            <a:ext cx="5820717" cy="2826692"/>
          </a:xfrm>
        </p:spPr>
        <p:txBody>
          <a:bodyPr anchor="t" anchorCtr="0"/>
          <a:lstStyle>
            <a:lvl1pPr algn="l">
              <a:defRPr sz="7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9463" y="5876925"/>
            <a:ext cx="8450350" cy="216000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010742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rgbClr val="20BD67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998400" y="1322388"/>
            <a:ext cx="10201413" cy="45545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9944F"/>
                </a:solidFill>
              </a:defRPr>
            </a:lvl1pPr>
            <a:lvl2pPr>
              <a:defRPr>
                <a:solidFill>
                  <a:srgbClr val="19944F"/>
                </a:solidFill>
              </a:defRPr>
            </a:lvl2pPr>
            <a:lvl3pPr>
              <a:defRPr>
                <a:solidFill>
                  <a:srgbClr val="19944F"/>
                </a:solidFill>
              </a:defRPr>
            </a:lvl3pPr>
            <a:lvl4pPr>
              <a:defRPr>
                <a:solidFill>
                  <a:srgbClr val="19944F"/>
                </a:solidFill>
              </a:defRPr>
            </a:lvl4pPr>
            <a:lvl5pPr>
              <a:defRPr>
                <a:solidFill>
                  <a:srgbClr val="19944F"/>
                </a:solidFill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5234" y="6435726"/>
            <a:ext cx="876300" cy="168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4BD8B9F-C85B-497B-ABAD-785FB773439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509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/>
          <p:nvPr userDrawn="1"/>
        </p:nvSpPr>
        <p:spPr>
          <a:xfrm>
            <a:off x="4" y="0"/>
            <a:ext cx="1019904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19944F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292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112001" y="5113341"/>
            <a:ext cx="9077569" cy="55403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3pPr>
            <a:lvl4pPr marL="319023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4pPr>
            <a:lvl5pPr marL="498474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112001" y="5902324"/>
            <a:ext cx="9077569" cy="262979"/>
          </a:xfrm>
          <a:prstGeom prst="rect">
            <a:avLst/>
          </a:prstGeom>
        </p:spPr>
        <p:txBody>
          <a:bodyPr/>
          <a:lstStyle>
            <a:lvl1pPr algn="r">
              <a:buFontTx/>
              <a:buNone/>
              <a:defRPr sz="1100" b="1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3pPr>
            <a:lvl4pPr marL="319023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4pPr>
            <a:lvl5pPr marL="498474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111999" y="4582397"/>
            <a:ext cx="2525539" cy="11906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000" b="1">
                <a:solidFill>
                  <a:srgbClr val="19944F"/>
                </a:solidFill>
              </a:defRPr>
            </a:lvl1pPr>
            <a:lvl2pPr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3pPr>
            <a:lvl4pPr marL="319023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4pPr>
            <a:lvl5pPr marL="498474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5475623" y="4582397"/>
            <a:ext cx="2525539" cy="11906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000" b="1">
                <a:solidFill>
                  <a:srgbClr val="19944F"/>
                </a:solidFill>
              </a:defRPr>
            </a:lvl1pPr>
            <a:lvl2pPr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3pPr>
            <a:lvl4pPr marL="319023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4pPr>
            <a:lvl5pPr marL="498474" indent="0">
              <a:buFontTx/>
              <a:buNone/>
              <a:defRPr sz="831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5624" y="4076842"/>
            <a:ext cx="1412464" cy="3810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2000" y="4076840"/>
            <a:ext cx="2615848" cy="384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4221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385234" y="6435726"/>
            <a:ext cx="876300" cy="168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A33F816-3D5A-405B-BD5F-F2F10CB0160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8099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955" name="think-cell Slide" r:id="rId11" imgW="281" imgH="281" progId="TCLayout.ActiveDocument.1">
                  <p:embed/>
                </p:oleObj>
              </mc:Choice>
              <mc:Fallback>
                <p:oleObj name="think-cell Slide" r:id="rId11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 err="1">
              <a:solidFill>
                <a:schemeClr val="bg1"/>
              </a:solidFill>
              <a:latin typeface="Univers for KPMG Light" panose="020B0403020202020204" pitchFamily="34" charset="0"/>
              <a:ea typeface="+mj-ea"/>
              <a:cs typeface="+mj-cs"/>
              <a:sym typeface="Univers for KPMG Light" panose="020B0403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8400" y="43180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739438" y="6266997"/>
            <a:ext cx="449655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rgbClr val="19944F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19944F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 userDrawn="1">
            <p:custDataLst>
              <p:tags r:id="rId10"/>
            </p:custDataLst>
          </p:nvPr>
        </p:nvSpPr>
        <p:spPr>
          <a:xfrm>
            <a:off x="2234934" y="6266997"/>
            <a:ext cx="77568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6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6730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09" r:id="rId2"/>
    <p:sldLayoutId id="2147483963" r:id="rId3"/>
    <p:sldLayoutId id="2147483910" r:id="rId4"/>
    <p:sldLayoutId id="2147483961" r:id="rId5"/>
  </p:sldLayoutIdLst>
  <p:transition spd="slow">
    <p:push dir="u"/>
  </p:transition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rgbClr val="19944F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2844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576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8244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3">
          <p15:clr>
            <a:srgbClr val="F26B43"/>
          </p15:clr>
        </p15:guide>
        <p15:guide id="5" orient="horz" pos="608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5AAC2-F57E-4E1E-BF7E-E04A800229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3512" y="3068960"/>
            <a:ext cx="5112568" cy="1080119"/>
          </a:xfrm>
        </p:spPr>
        <p:txBody>
          <a:bodyPr/>
          <a:lstStyle/>
          <a:p>
            <a:r>
              <a:rPr lang="de-DE" sz="2400" dirty="0">
                <a:solidFill>
                  <a:srgbClr val="20BD6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in Social Life in digital</a:t>
            </a:r>
            <a:endParaRPr lang="de-DE" sz="4400" dirty="0">
              <a:solidFill>
                <a:srgbClr val="20BD6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3E5503-52C7-4465-9AEA-14D4AFD9F1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r"/>
            <a:r>
              <a:rPr lang="de-DE" dirty="0"/>
              <a:t>Team 2</a:t>
            </a:r>
          </a:p>
          <a:p>
            <a:pPr algn="r"/>
            <a:r>
              <a:rPr lang="de-DE" dirty="0"/>
              <a:t>Max, Moritz, Dmitrij, Andreas, Nares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5998B5-35EB-4F63-A9CD-2A7F7FAB46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363" y="1339511"/>
            <a:ext cx="3974407" cy="1729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224553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>
            <a:extLst>
              <a:ext uri="{FF2B5EF4-FFF2-40B4-BE49-F238E27FC236}">
                <a16:creationId xmlns:a16="http://schemas.microsoft.com/office/drawing/2014/main" id="{D8EC1EE3-7053-417F-A69A-B9885B9E877E}"/>
              </a:ext>
            </a:extLst>
          </p:cNvPr>
          <p:cNvSpPr/>
          <p:nvPr/>
        </p:nvSpPr>
        <p:spPr>
          <a:xfrm>
            <a:off x="3154403" y="2027860"/>
            <a:ext cx="1512000" cy="1512000"/>
          </a:xfrm>
          <a:prstGeom prst="ellipse">
            <a:avLst/>
          </a:prstGeom>
          <a:gradFill>
            <a:gsLst>
              <a:gs pos="100000">
                <a:srgbClr val="11703C"/>
              </a:gs>
              <a:gs pos="63000">
                <a:srgbClr val="19944F"/>
              </a:gs>
              <a:gs pos="0">
                <a:srgbClr val="20BD67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de-DE" sz="1500" dirty="0" err="1">
              <a:solidFill>
                <a:schemeClr val="bg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042AD59-379F-4A1F-9D49-AEBEAD5FBC71}"/>
              </a:ext>
            </a:extLst>
          </p:cNvPr>
          <p:cNvSpPr/>
          <p:nvPr/>
        </p:nvSpPr>
        <p:spPr>
          <a:xfrm>
            <a:off x="5346406" y="2027860"/>
            <a:ext cx="1512000" cy="1512000"/>
          </a:xfrm>
          <a:prstGeom prst="ellipse">
            <a:avLst/>
          </a:prstGeom>
          <a:gradFill>
            <a:gsLst>
              <a:gs pos="100000">
                <a:srgbClr val="11703C"/>
              </a:gs>
              <a:gs pos="63000">
                <a:srgbClr val="19944F"/>
              </a:gs>
              <a:gs pos="0">
                <a:srgbClr val="20BD67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de-DE" sz="1500" dirty="0" err="1">
              <a:solidFill>
                <a:schemeClr val="bg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5C9E2B3-66CC-4D4C-8C2D-FA106CC0D68A}"/>
              </a:ext>
            </a:extLst>
          </p:cNvPr>
          <p:cNvSpPr/>
          <p:nvPr/>
        </p:nvSpPr>
        <p:spPr>
          <a:xfrm>
            <a:off x="7538409" y="2027860"/>
            <a:ext cx="1512000" cy="1512000"/>
          </a:xfrm>
          <a:prstGeom prst="ellipse">
            <a:avLst/>
          </a:prstGeom>
          <a:gradFill>
            <a:gsLst>
              <a:gs pos="100000">
                <a:srgbClr val="11703C"/>
              </a:gs>
              <a:gs pos="63000">
                <a:srgbClr val="19944F"/>
              </a:gs>
              <a:gs pos="0">
                <a:srgbClr val="20BD67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de-DE" sz="1500" dirty="0" err="1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8AF3C05-FB38-434D-ACE0-2962D65F8A2D}"/>
              </a:ext>
            </a:extLst>
          </p:cNvPr>
          <p:cNvSpPr/>
          <p:nvPr/>
        </p:nvSpPr>
        <p:spPr>
          <a:xfrm>
            <a:off x="9723472" y="2027860"/>
            <a:ext cx="1512000" cy="1512000"/>
          </a:xfrm>
          <a:prstGeom prst="ellipse">
            <a:avLst/>
          </a:prstGeom>
          <a:gradFill>
            <a:gsLst>
              <a:gs pos="100000">
                <a:srgbClr val="11703C"/>
              </a:gs>
              <a:gs pos="63000">
                <a:srgbClr val="19944F"/>
              </a:gs>
              <a:gs pos="0">
                <a:srgbClr val="20BD67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de-DE" sz="1500" dirty="0" err="1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3D24B5F-672F-4C53-939E-366964ACC071}"/>
              </a:ext>
            </a:extLst>
          </p:cNvPr>
          <p:cNvSpPr/>
          <p:nvPr/>
        </p:nvSpPr>
        <p:spPr>
          <a:xfrm>
            <a:off x="962400" y="2027860"/>
            <a:ext cx="1512000" cy="1512000"/>
          </a:xfrm>
          <a:prstGeom prst="ellipse">
            <a:avLst/>
          </a:prstGeom>
          <a:gradFill>
            <a:gsLst>
              <a:gs pos="100000">
                <a:srgbClr val="11703C"/>
              </a:gs>
              <a:gs pos="63000">
                <a:srgbClr val="19944F"/>
              </a:gs>
              <a:gs pos="0">
                <a:srgbClr val="20BD67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de-DE" sz="15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89D002-9839-43A3-B828-09327C6CF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Team hinter communify.i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E2AFF1-63A8-42A6-A184-FB8C7CC93F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08" t="30232" r="4652" b="28442"/>
          <a:stretch/>
        </p:blipFill>
        <p:spPr>
          <a:xfrm>
            <a:off x="9759813" y="2063860"/>
            <a:ext cx="1440000" cy="1440000"/>
          </a:xfrm>
          <a:prstGeom prst="ellipse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50B22EB-BC15-4746-8425-0FB1E42CEE1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1" t="30491" r="5985" b="28453"/>
          <a:stretch/>
        </p:blipFill>
        <p:spPr>
          <a:xfrm>
            <a:off x="998400" y="2063860"/>
            <a:ext cx="1440000" cy="1440000"/>
          </a:xfrm>
          <a:prstGeom prst="ellipse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F1062AE-69BC-4CC3-88F9-862A2360FA7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1" t="30073" r="5639" b="28601"/>
          <a:stretch/>
        </p:blipFill>
        <p:spPr>
          <a:xfrm>
            <a:off x="7569459" y="2063860"/>
            <a:ext cx="1440000" cy="1440000"/>
          </a:xfrm>
          <a:prstGeom prst="ellipse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C843A2A-3481-468A-9401-CF5D36D61E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50" t="30477" r="5911" b="28197"/>
          <a:stretch/>
        </p:blipFill>
        <p:spPr>
          <a:xfrm>
            <a:off x="5379106" y="2063860"/>
            <a:ext cx="1440000" cy="1440000"/>
          </a:xfrm>
          <a:prstGeom prst="ellipse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C0F7393-59BC-40A8-86C7-270C22D6059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87" r="13887"/>
          <a:stretch/>
        </p:blipFill>
        <p:spPr>
          <a:xfrm>
            <a:off x="3188753" y="2067472"/>
            <a:ext cx="1440000" cy="1440000"/>
          </a:xfrm>
          <a:prstGeom prst="ellipse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0AA5EE3-8AB0-4B4D-BCAB-1C70665B53A4}"/>
              </a:ext>
            </a:extLst>
          </p:cNvPr>
          <p:cNvSpPr txBox="1"/>
          <p:nvPr/>
        </p:nvSpPr>
        <p:spPr>
          <a:xfrm>
            <a:off x="995363" y="3861048"/>
            <a:ext cx="1440000" cy="900000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600" b="1" dirty="0">
                <a:solidFill>
                  <a:srgbClr val="19944F"/>
                </a:solidFill>
              </a:rPr>
              <a:t>Moritz Kraus</a:t>
            </a:r>
          </a:p>
          <a:p>
            <a:pPr algn="ctr">
              <a:spcAft>
                <a:spcPts val="600"/>
              </a:spcAft>
            </a:pPr>
            <a:r>
              <a:rPr lang="de-DE" sz="1400" dirty="0">
                <a:solidFill>
                  <a:srgbClr val="19944F"/>
                </a:solidFill>
              </a:rPr>
              <a:t>Blockchain Team Lead</a:t>
            </a:r>
            <a:endParaRPr lang="de-DE" sz="1600" dirty="0">
              <a:solidFill>
                <a:srgbClr val="19944F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06CE70-4840-454C-98E2-4DF2EEB516E9}"/>
              </a:ext>
            </a:extLst>
          </p:cNvPr>
          <p:cNvSpPr txBox="1"/>
          <p:nvPr/>
        </p:nvSpPr>
        <p:spPr>
          <a:xfrm>
            <a:off x="3186475" y="3866046"/>
            <a:ext cx="1440000" cy="900000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600" b="1" dirty="0">
                <a:solidFill>
                  <a:srgbClr val="19944F"/>
                </a:solidFill>
              </a:rPr>
              <a:t>Dmitrij Berger</a:t>
            </a:r>
          </a:p>
          <a:p>
            <a:pPr algn="ctr">
              <a:spcAft>
                <a:spcPts val="600"/>
              </a:spcAft>
            </a:pPr>
            <a:r>
              <a:rPr lang="de-DE" sz="1400" dirty="0">
                <a:solidFill>
                  <a:srgbClr val="19944F"/>
                </a:solidFill>
              </a:rPr>
              <a:t>Chief Technology Officer</a:t>
            </a:r>
            <a:endParaRPr lang="de-DE" sz="1600" dirty="0">
              <a:solidFill>
                <a:srgbClr val="19944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CAF075-AEF8-401A-AE3D-C68B4D3477EE}"/>
              </a:ext>
            </a:extLst>
          </p:cNvPr>
          <p:cNvSpPr txBox="1"/>
          <p:nvPr/>
        </p:nvSpPr>
        <p:spPr>
          <a:xfrm>
            <a:off x="5377588" y="3861048"/>
            <a:ext cx="1440000" cy="900000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600" b="1" dirty="0">
                <a:solidFill>
                  <a:srgbClr val="19944F"/>
                </a:solidFill>
              </a:rPr>
              <a:t>Max Schäufele</a:t>
            </a:r>
          </a:p>
          <a:p>
            <a:pPr algn="ctr">
              <a:spcAft>
                <a:spcPts val="600"/>
              </a:spcAft>
            </a:pPr>
            <a:r>
              <a:rPr lang="de-DE" sz="1400" dirty="0">
                <a:solidFill>
                  <a:srgbClr val="19944F"/>
                </a:solidFill>
              </a:rPr>
              <a:t>Lead AI Manag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F9FA64-7CFE-4901-920B-8D0244FD0808}"/>
              </a:ext>
            </a:extLst>
          </p:cNvPr>
          <p:cNvSpPr txBox="1"/>
          <p:nvPr/>
        </p:nvSpPr>
        <p:spPr>
          <a:xfrm>
            <a:off x="7568700" y="3861048"/>
            <a:ext cx="1440000" cy="900000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600" b="1" dirty="0">
                <a:solidFill>
                  <a:srgbClr val="19944F"/>
                </a:solidFill>
              </a:rPr>
              <a:t>Andreas Probst</a:t>
            </a:r>
          </a:p>
          <a:p>
            <a:pPr algn="ctr">
              <a:spcAft>
                <a:spcPts val="600"/>
              </a:spcAft>
            </a:pPr>
            <a:r>
              <a:rPr lang="de-DE" sz="1400" dirty="0">
                <a:solidFill>
                  <a:srgbClr val="19944F"/>
                </a:solidFill>
              </a:rPr>
              <a:t>Chief Wizard Officer</a:t>
            </a:r>
            <a:endParaRPr lang="de-DE" sz="1600" dirty="0">
              <a:solidFill>
                <a:srgbClr val="19944F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ECF44AA-F076-4378-A8DC-C1044B24E7FD}"/>
              </a:ext>
            </a:extLst>
          </p:cNvPr>
          <p:cNvSpPr txBox="1"/>
          <p:nvPr/>
        </p:nvSpPr>
        <p:spPr>
          <a:xfrm>
            <a:off x="9759813" y="3861048"/>
            <a:ext cx="1440000" cy="900000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600" b="1" dirty="0">
                <a:solidFill>
                  <a:srgbClr val="19944F"/>
                </a:solidFill>
              </a:rPr>
              <a:t>Naresh Visuvalingam</a:t>
            </a:r>
          </a:p>
          <a:p>
            <a:pPr algn="ctr">
              <a:spcAft>
                <a:spcPts val="600"/>
              </a:spcAft>
            </a:pPr>
            <a:r>
              <a:rPr lang="de-DE" sz="1400" dirty="0">
                <a:solidFill>
                  <a:srgbClr val="19944F"/>
                </a:solidFill>
              </a:rPr>
              <a:t>Head of Innovation</a:t>
            </a:r>
            <a:endParaRPr lang="de-DE" sz="1600" dirty="0">
              <a:solidFill>
                <a:srgbClr val="1994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4105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DB9D52-DA55-4193-AE4D-B973C4087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se Features folgen in der Zukunf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EAF582F-1DCF-4BF1-874F-7B6307F0F72E}"/>
              </a:ext>
            </a:extLst>
          </p:cNvPr>
          <p:cNvGrpSpPr/>
          <p:nvPr/>
        </p:nvGrpSpPr>
        <p:grpSpPr>
          <a:xfrm>
            <a:off x="10632504" y="462617"/>
            <a:ext cx="473806" cy="530020"/>
            <a:chOff x="-3459163" y="160337"/>
            <a:chExt cx="374650" cy="419100"/>
          </a:xfrm>
          <a:solidFill>
            <a:schemeClr val="tx1"/>
          </a:solidFill>
        </p:grpSpPr>
        <p:sp>
          <p:nvSpPr>
            <p:cNvPr id="5" name="Freeform 1194">
              <a:extLst>
                <a:ext uri="{FF2B5EF4-FFF2-40B4-BE49-F238E27FC236}">
                  <a16:creationId xmlns:a16="http://schemas.microsoft.com/office/drawing/2014/main" id="{350B4D83-02D1-4337-9A97-185AF3EF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71838" y="160337"/>
              <a:ext cx="12700" cy="28575"/>
            </a:xfrm>
            <a:custGeom>
              <a:avLst/>
              <a:gdLst>
                <a:gd name="T0" fmla="*/ 0 w 8"/>
                <a:gd name="T1" fmla="*/ 18 h 18"/>
                <a:gd name="T2" fmla="*/ 0 w 8"/>
                <a:gd name="T3" fmla="*/ 18 h 18"/>
                <a:gd name="T4" fmla="*/ 0 w 8"/>
                <a:gd name="T5" fmla="*/ 8 h 18"/>
                <a:gd name="T6" fmla="*/ 2 w 8"/>
                <a:gd name="T7" fmla="*/ 0 h 18"/>
                <a:gd name="T8" fmla="*/ 2 w 8"/>
                <a:gd name="T9" fmla="*/ 0 h 18"/>
                <a:gd name="T10" fmla="*/ 6 w 8"/>
                <a:gd name="T11" fmla="*/ 0 h 18"/>
                <a:gd name="T12" fmla="*/ 8 w 8"/>
                <a:gd name="T13" fmla="*/ 4 h 18"/>
                <a:gd name="T14" fmla="*/ 8 w 8"/>
                <a:gd name="T15" fmla="*/ 6 h 18"/>
                <a:gd name="T16" fmla="*/ 6 w 8"/>
                <a:gd name="T17" fmla="*/ 12 h 18"/>
                <a:gd name="T18" fmla="*/ 6 w 8"/>
                <a:gd name="T19" fmla="*/ 12 h 18"/>
                <a:gd name="T20" fmla="*/ 4 w 8"/>
                <a:gd name="T21" fmla="*/ 16 h 18"/>
                <a:gd name="T22" fmla="*/ 0 w 8"/>
                <a:gd name="T23" fmla="*/ 18 h 18"/>
                <a:gd name="T24" fmla="*/ 0 w 8"/>
                <a:gd name="T2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0" y="18"/>
                  </a:lnTo>
                  <a:lnTo>
                    <a:pt x="0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4"/>
                  </a:lnTo>
                  <a:lnTo>
                    <a:pt x="8" y="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6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6" name="Freeform 1195">
              <a:extLst>
                <a:ext uri="{FF2B5EF4-FFF2-40B4-BE49-F238E27FC236}">
                  <a16:creationId xmlns:a16="http://schemas.microsoft.com/office/drawing/2014/main" id="{AD341069-277D-43E2-8968-76C7170C8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11513" y="173037"/>
              <a:ext cx="19050" cy="25400"/>
            </a:xfrm>
            <a:custGeom>
              <a:avLst/>
              <a:gdLst>
                <a:gd name="T0" fmla="*/ 2 w 12"/>
                <a:gd name="T1" fmla="*/ 16 h 16"/>
                <a:gd name="T2" fmla="*/ 2 w 12"/>
                <a:gd name="T3" fmla="*/ 16 h 16"/>
                <a:gd name="T4" fmla="*/ 0 w 12"/>
                <a:gd name="T5" fmla="*/ 16 h 16"/>
                <a:gd name="T6" fmla="*/ 0 w 12"/>
                <a:gd name="T7" fmla="*/ 16 h 16"/>
                <a:gd name="T8" fmla="*/ 0 w 12"/>
                <a:gd name="T9" fmla="*/ 10 h 16"/>
                <a:gd name="T10" fmla="*/ 2 w 12"/>
                <a:gd name="T11" fmla="*/ 4 h 16"/>
                <a:gd name="T12" fmla="*/ 6 w 12"/>
                <a:gd name="T13" fmla="*/ 0 h 16"/>
                <a:gd name="T14" fmla="*/ 8 w 12"/>
                <a:gd name="T15" fmla="*/ 0 h 16"/>
                <a:gd name="T16" fmla="*/ 10 w 12"/>
                <a:gd name="T17" fmla="*/ 0 h 16"/>
                <a:gd name="T18" fmla="*/ 10 w 12"/>
                <a:gd name="T19" fmla="*/ 0 h 16"/>
                <a:gd name="T20" fmla="*/ 12 w 12"/>
                <a:gd name="T21" fmla="*/ 2 h 16"/>
                <a:gd name="T22" fmla="*/ 12 w 12"/>
                <a:gd name="T23" fmla="*/ 4 h 16"/>
                <a:gd name="T24" fmla="*/ 10 w 12"/>
                <a:gd name="T25" fmla="*/ 8 h 16"/>
                <a:gd name="T26" fmla="*/ 10 w 12"/>
                <a:gd name="T27" fmla="*/ 8 h 16"/>
                <a:gd name="T28" fmla="*/ 8 w 12"/>
                <a:gd name="T29" fmla="*/ 12 h 16"/>
                <a:gd name="T30" fmla="*/ 8 w 12"/>
                <a:gd name="T31" fmla="*/ 12 h 16"/>
                <a:gd name="T32" fmla="*/ 4 w 12"/>
                <a:gd name="T33" fmla="*/ 14 h 16"/>
                <a:gd name="T34" fmla="*/ 4 w 12"/>
                <a:gd name="T35" fmla="*/ 14 h 16"/>
                <a:gd name="T36" fmla="*/ 4 w 12"/>
                <a:gd name="T37" fmla="*/ 16 h 16"/>
                <a:gd name="T38" fmla="*/ 2 w 12"/>
                <a:gd name="T39" fmla="*/ 16 h 16"/>
                <a:gd name="T40" fmla="*/ 2 w 12"/>
                <a:gd name="T4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" h="16">
                  <a:moveTo>
                    <a:pt x="2" y="16"/>
                  </a:move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2" y="4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6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7" name="Freeform 1196">
              <a:extLst>
                <a:ext uri="{FF2B5EF4-FFF2-40B4-BE49-F238E27FC236}">
                  <a16:creationId xmlns:a16="http://schemas.microsoft.com/office/drawing/2014/main" id="{69864A3E-FF58-4F00-8025-98BEF01DE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54388" y="179387"/>
              <a:ext cx="15875" cy="22225"/>
            </a:xfrm>
            <a:custGeom>
              <a:avLst/>
              <a:gdLst>
                <a:gd name="T0" fmla="*/ 6 w 10"/>
                <a:gd name="T1" fmla="*/ 14 h 14"/>
                <a:gd name="T2" fmla="*/ 6 w 10"/>
                <a:gd name="T3" fmla="*/ 14 h 14"/>
                <a:gd name="T4" fmla="*/ 4 w 10"/>
                <a:gd name="T5" fmla="*/ 12 h 14"/>
                <a:gd name="T6" fmla="*/ 4 w 10"/>
                <a:gd name="T7" fmla="*/ 12 h 14"/>
                <a:gd name="T8" fmla="*/ 2 w 10"/>
                <a:gd name="T9" fmla="*/ 6 h 14"/>
                <a:gd name="T10" fmla="*/ 0 w 10"/>
                <a:gd name="T11" fmla="*/ 2 h 14"/>
                <a:gd name="T12" fmla="*/ 0 w 10"/>
                <a:gd name="T13" fmla="*/ 2 h 14"/>
                <a:gd name="T14" fmla="*/ 4 w 10"/>
                <a:gd name="T15" fmla="*/ 0 h 14"/>
                <a:gd name="T16" fmla="*/ 8 w 10"/>
                <a:gd name="T17" fmla="*/ 2 h 14"/>
                <a:gd name="T18" fmla="*/ 8 w 10"/>
                <a:gd name="T19" fmla="*/ 2 h 14"/>
                <a:gd name="T20" fmla="*/ 10 w 10"/>
                <a:gd name="T21" fmla="*/ 6 h 14"/>
                <a:gd name="T22" fmla="*/ 10 w 10"/>
                <a:gd name="T23" fmla="*/ 8 h 14"/>
                <a:gd name="T24" fmla="*/ 6 w 10"/>
                <a:gd name="T25" fmla="*/ 14 h 14"/>
                <a:gd name="T26" fmla="*/ 6 w 10"/>
                <a:gd name="T2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4">
                  <a:moveTo>
                    <a:pt x="6" y="14"/>
                  </a:moveTo>
                  <a:lnTo>
                    <a:pt x="6" y="14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2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4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8" name="Freeform 1197">
              <a:extLst>
                <a:ext uri="{FF2B5EF4-FFF2-40B4-BE49-F238E27FC236}">
                  <a16:creationId xmlns:a16="http://schemas.microsoft.com/office/drawing/2014/main" id="{4E15CA9D-3A04-4373-9007-17537AE271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08363" y="204787"/>
              <a:ext cx="276225" cy="374650"/>
            </a:xfrm>
            <a:custGeom>
              <a:avLst/>
              <a:gdLst>
                <a:gd name="T0" fmla="*/ 118 w 174"/>
                <a:gd name="T1" fmla="*/ 186 h 236"/>
                <a:gd name="T2" fmla="*/ 108 w 174"/>
                <a:gd name="T3" fmla="*/ 218 h 236"/>
                <a:gd name="T4" fmla="*/ 104 w 174"/>
                <a:gd name="T5" fmla="*/ 232 h 236"/>
                <a:gd name="T6" fmla="*/ 64 w 174"/>
                <a:gd name="T7" fmla="*/ 230 h 236"/>
                <a:gd name="T8" fmla="*/ 38 w 174"/>
                <a:gd name="T9" fmla="*/ 176 h 236"/>
                <a:gd name="T10" fmla="*/ 38 w 174"/>
                <a:gd name="T11" fmla="*/ 150 h 236"/>
                <a:gd name="T12" fmla="*/ 16 w 174"/>
                <a:gd name="T13" fmla="*/ 124 h 236"/>
                <a:gd name="T14" fmla="*/ 0 w 174"/>
                <a:gd name="T15" fmla="*/ 74 h 236"/>
                <a:gd name="T16" fmla="*/ 8 w 174"/>
                <a:gd name="T17" fmla="*/ 40 h 236"/>
                <a:gd name="T18" fmla="*/ 32 w 174"/>
                <a:gd name="T19" fmla="*/ 14 h 236"/>
                <a:gd name="T20" fmla="*/ 88 w 174"/>
                <a:gd name="T21" fmla="*/ 0 h 236"/>
                <a:gd name="T22" fmla="*/ 140 w 174"/>
                <a:gd name="T23" fmla="*/ 18 h 236"/>
                <a:gd name="T24" fmla="*/ 174 w 174"/>
                <a:gd name="T25" fmla="*/ 70 h 236"/>
                <a:gd name="T26" fmla="*/ 170 w 174"/>
                <a:gd name="T27" fmla="*/ 104 h 236"/>
                <a:gd name="T28" fmla="*/ 162 w 174"/>
                <a:gd name="T29" fmla="*/ 122 h 236"/>
                <a:gd name="T30" fmla="*/ 124 w 174"/>
                <a:gd name="T31" fmla="*/ 156 h 236"/>
                <a:gd name="T32" fmla="*/ 122 w 174"/>
                <a:gd name="T33" fmla="*/ 164 h 236"/>
                <a:gd name="T34" fmla="*/ 116 w 174"/>
                <a:gd name="T35" fmla="*/ 144 h 236"/>
                <a:gd name="T36" fmla="*/ 148 w 174"/>
                <a:gd name="T37" fmla="*/ 122 h 236"/>
                <a:gd name="T38" fmla="*/ 166 w 174"/>
                <a:gd name="T39" fmla="*/ 76 h 236"/>
                <a:gd name="T40" fmla="*/ 150 w 174"/>
                <a:gd name="T41" fmla="*/ 38 h 236"/>
                <a:gd name="T42" fmla="*/ 82 w 174"/>
                <a:gd name="T43" fmla="*/ 8 h 236"/>
                <a:gd name="T44" fmla="*/ 46 w 174"/>
                <a:gd name="T45" fmla="*/ 14 h 236"/>
                <a:gd name="T46" fmla="*/ 22 w 174"/>
                <a:gd name="T47" fmla="*/ 32 h 236"/>
                <a:gd name="T48" fmla="*/ 8 w 174"/>
                <a:gd name="T49" fmla="*/ 86 h 236"/>
                <a:gd name="T50" fmla="*/ 36 w 174"/>
                <a:gd name="T51" fmla="*/ 134 h 236"/>
                <a:gd name="T52" fmla="*/ 46 w 174"/>
                <a:gd name="T53" fmla="*/ 140 h 236"/>
                <a:gd name="T54" fmla="*/ 50 w 174"/>
                <a:gd name="T55" fmla="*/ 150 h 236"/>
                <a:gd name="T56" fmla="*/ 50 w 174"/>
                <a:gd name="T57" fmla="*/ 104 h 236"/>
                <a:gd name="T58" fmla="*/ 36 w 174"/>
                <a:gd name="T59" fmla="*/ 74 h 236"/>
                <a:gd name="T60" fmla="*/ 38 w 174"/>
                <a:gd name="T61" fmla="*/ 66 h 236"/>
                <a:gd name="T62" fmla="*/ 62 w 174"/>
                <a:gd name="T63" fmla="*/ 114 h 236"/>
                <a:gd name="T64" fmla="*/ 54 w 174"/>
                <a:gd name="T65" fmla="*/ 154 h 236"/>
                <a:gd name="T66" fmla="*/ 90 w 174"/>
                <a:gd name="T67" fmla="*/ 114 h 236"/>
                <a:gd name="T68" fmla="*/ 124 w 174"/>
                <a:gd name="T69" fmla="*/ 70 h 236"/>
                <a:gd name="T70" fmla="*/ 118 w 174"/>
                <a:gd name="T71" fmla="*/ 80 h 236"/>
                <a:gd name="T72" fmla="*/ 98 w 174"/>
                <a:gd name="T73" fmla="*/ 142 h 236"/>
                <a:gd name="T74" fmla="*/ 110 w 174"/>
                <a:gd name="T75" fmla="*/ 156 h 236"/>
                <a:gd name="T76" fmla="*/ 84 w 174"/>
                <a:gd name="T77" fmla="*/ 162 h 236"/>
                <a:gd name="T78" fmla="*/ 46 w 174"/>
                <a:gd name="T79" fmla="*/ 172 h 236"/>
                <a:gd name="T80" fmla="*/ 112 w 174"/>
                <a:gd name="T81" fmla="*/ 160 h 236"/>
                <a:gd name="T82" fmla="*/ 46 w 174"/>
                <a:gd name="T83" fmla="*/ 180 h 236"/>
                <a:gd name="T84" fmla="*/ 62 w 174"/>
                <a:gd name="T85" fmla="*/ 192 h 236"/>
                <a:gd name="T86" fmla="*/ 94 w 174"/>
                <a:gd name="T87" fmla="*/ 180 h 236"/>
                <a:gd name="T88" fmla="*/ 50 w 174"/>
                <a:gd name="T89" fmla="*/ 210 h 236"/>
                <a:gd name="T90" fmla="*/ 108 w 174"/>
                <a:gd name="T91" fmla="*/ 200 h 236"/>
                <a:gd name="T92" fmla="*/ 48 w 174"/>
                <a:gd name="T93" fmla="*/ 204 h 236"/>
                <a:gd name="T94" fmla="*/ 70 w 174"/>
                <a:gd name="T95" fmla="*/ 224 h 236"/>
                <a:gd name="T96" fmla="*/ 66 w 174"/>
                <a:gd name="T97" fmla="*/ 224 h 236"/>
                <a:gd name="T98" fmla="*/ 60 w 174"/>
                <a:gd name="T99" fmla="*/ 218 h 236"/>
                <a:gd name="T100" fmla="*/ 64 w 174"/>
                <a:gd name="T101" fmla="*/ 220 h 236"/>
                <a:gd name="T102" fmla="*/ 74 w 174"/>
                <a:gd name="T103" fmla="*/ 226 h 236"/>
                <a:gd name="T104" fmla="*/ 74 w 174"/>
                <a:gd name="T105" fmla="*/ 226 h 236"/>
                <a:gd name="T106" fmla="*/ 84 w 174"/>
                <a:gd name="T107" fmla="*/ 218 h 236"/>
                <a:gd name="T108" fmla="*/ 84 w 174"/>
                <a:gd name="T109" fmla="*/ 228 h 236"/>
                <a:gd name="T110" fmla="*/ 88 w 174"/>
                <a:gd name="T111" fmla="*/ 218 h 236"/>
                <a:gd name="T112" fmla="*/ 92 w 174"/>
                <a:gd name="T113" fmla="*/ 222 h 236"/>
                <a:gd name="T114" fmla="*/ 100 w 174"/>
                <a:gd name="T115" fmla="*/ 218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4" h="236">
                  <a:moveTo>
                    <a:pt x="122" y="164"/>
                  </a:moveTo>
                  <a:lnTo>
                    <a:pt x="122" y="164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0" y="182"/>
                  </a:lnTo>
                  <a:lnTo>
                    <a:pt x="118" y="18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6"/>
                  </a:lnTo>
                  <a:lnTo>
                    <a:pt x="108" y="218"/>
                  </a:lnTo>
                  <a:lnTo>
                    <a:pt x="108" y="218"/>
                  </a:lnTo>
                  <a:lnTo>
                    <a:pt x="110" y="222"/>
                  </a:lnTo>
                  <a:lnTo>
                    <a:pt x="110" y="226"/>
                  </a:lnTo>
                  <a:lnTo>
                    <a:pt x="110" y="226"/>
                  </a:lnTo>
                  <a:lnTo>
                    <a:pt x="108" y="228"/>
                  </a:lnTo>
                  <a:lnTo>
                    <a:pt x="104" y="232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86" y="236"/>
                  </a:lnTo>
                  <a:lnTo>
                    <a:pt x="78" y="234"/>
                  </a:lnTo>
                  <a:lnTo>
                    <a:pt x="64" y="230"/>
                  </a:lnTo>
                  <a:lnTo>
                    <a:pt x="64" y="230"/>
                  </a:lnTo>
                  <a:lnTo>
                    <a:pt x="52" y="224"/>
                  </a:lnTo>
                  <a:lnTo>
                    <a:pt x="42" y="218"/>
                  </a:lnTo>
                  <a:lnTo>
                    <a:pt x="42" y="218"/>
                  </a:lnTo>
                  <a:lnTo>
                    <a:pt x="38" y="198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38" y="168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38" y="150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4" y="140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16" y="124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2" y="10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7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32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4" y="20"/>
                  </a:lnTo>
                  <a:lnTo>
                    <a:pt x="32" y="14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60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8" y="0"/>
                  </a:lnTo>
                  <a:lnTo>
                    <a:pt x="102" y="2"/>
                  </a:lnTo>
                  <a:lnTo>
                    <a:pt x="114" y="6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40" y="18"/>
                  </a:lnTo>
                  <a:lnTo>
                    <a:pt x="140" y="18"/>
                  </a:lnTo>
                  <a:lnTo>
                    <a:pt x="150" y="2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6" y="48"/>
                  </a:lnTo>
                  <a:lnTo>
                    <a:pt x="172" y="58"/>
                  </a:lnTo>
                  <a:lnTo>
                    <a:pt x="174" y="70"/>
                  </a:lnTo>
                  <a:lnTo>
                    <a:pt x="174" y="82"/>
                  </a:lnTo>
                  <a:lnTo>
                    <a:pt x="174" y="82"/>
                  </a:lnTo>
                  <a:lnTo>
                    <a:pt x="172" y="100"/>
                  </a:lnTo>
                  <a:lnTo>
                    <a:pt x="172" y="100"/>
                  </a:lnTo>
                  <a:lnTo>
                    <a:pt x="170" y="104"/>
                  </a:lnTo>
                  <a:lnTo>
                    <a:pt x="170" y="104"/>
                  </a:lnTo>
                  <a:lnTo>
                    <a:pt x="170" y="108"/>
                  </a:lnTo>
                  <a:lnTo>
                    <a:pt x="170" y="108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56" y="128"/>
                  </a:lnTo>
                  <a:lnTo>
                    <a:pt x="146" y="132"/>
                  </a:lnTo>
                  <a:lnTo>
                    <a:pt x="128" y="142"/>
                  </a:lnTo>
                  <a:lnTo>
                    <a:pt x="128" y="142"/>
                  </a:lnTo>
                  <a:lnTo>
                    <a:pt x="124" y="148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4" y="164"/>
                  </a:lnTo>
                  <a:lnTo>
                    <a:pt x="122" y="164"/>
                  </a:lnTo>
                  <a:lnTo>
                    <a:pt x="122" y="164"/>
                  </a:lnTo>
                  <a:close/>
                  <a:moveTo>
                    <a:pt x="112" y="156"/>
                  </a:moveTo>
                  <a:lnTo>
                    <a:pt x="112" y="156"/>
                  </a:lnTo>
                  <a:lnTo>
                    <a:pt x="114" y="156"/>
                  </a:lnTo>
                  <a:lnTo>
                    <a:pt x="116" y="152"/>
                  </a:lnTo>
                  <a:lnTo>
                    <a:pt x="116" y="144"/>
                  </a:lnTo>
                  <a:lnTo>
                    <a:pt x="116" y="144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4" y="134"/>
                  </a:lnTo>
                  <a:lnTo>
                    <a:pt x="124" y="134"/>
                  </a:lnTo>
                  <a:lnTo>
                    <a:pt x="142" y="128"/>
                  </a:lnTo>
                  <a:lnTo>
                    <a:pt x="148" y="122"/>
                  </a:lnTo>
                  <a:lnTo>
                    <a:pt x="156" y="116"/>
                  </a:lnTo>
                  <a:lnTo>
                    <a:pt x="156" y="116"/>
                  </a:lnTo>
                  <a:lnTo>
                    <a:pt x="160" y="108"/>
                  </a:lnTo>
                  <a:lnTo>
                    <a:pt x="164" y="98"/>
                  </a:lnTo>
                  <a:lnTo>
                    <a:pt x="166" y="86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4" y="64"/>
                  </a:lnTo>
                  <a:lnTo>
                    <a:pt x="160" y="54"/>
                  </a:lnTo>
                  <a:lnTo>
                    <a:pt x="156" y="46"/>
                  </a:lnTo>
                  <a:lnTo>
                    <a:pt x="150" y="38"/>
                  </a:lnTo>
                  <a:lnTo>
                    <a:pt x="150" y="38"/>
                  </a:lnTo>
                  <a:lnTo>
                    <a:pt x="138" y="26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12" y="12"/>
                  </a:lnTo>
                  <a:lnTo>
                    <a:pt x="96" y="8"/>
                  </a:lnTo>
                  <a:lnTo>
                    <a:pt x="82" y="8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38" y="20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2" y="32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0" y="5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86"/>
                  </a:lnTo>
                  <a:lnTo>
                    <a:pt x="10" y="96"/>
                  </a:lnTo>
                  <a:lnTo>
                    <a:pt x="12" y="104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26" y="124"/>
                  </a:lnTo>
                  <a:lnTo>
                    <a:pt x="36" y="134"/>
                  </a:lnTo>
                  <a:lnTo>
                    <a:pt x="36" y="134"/>
                  </a:lnTo>
                  <a:lnTo>
                    <a:pt x="38" y="136"/>
                  </a:lnTo>
                  <a:lnTo>
                    <a:pt x="42" y="136"/>
                  </a:lnTo>
                  <a:lnTo>
                    <a:pt x="44" y="138"/>
                  </a:lnTo>
                  <a:lnTo>
                    <a:pt x="46" y="140"/>
                  </a:lnTo>
                  <a:lnTo>
                    <a:pt x="46" y="140"/>
                  </a:lnTo>
                  <a:lnTo>
                    <a:pt x="46" y="146"/>
                  </a:lnTo>
                  <a:lnTo>
                    <a:pt x="46" y="152"/>
                  </a:lnTo>
                  <a:lnTo>
                    <a:pt x="46" y="152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0" y="150"/>
                  </a:lnTo>
                  <a:lnTo>
                    <a:pt x="52" y="144"/>
                  </a:lnTo>
                  <a:lnTo>
                    <a:pt x="52" y="144"/>
                  </a:lnTo>
                  <a:lnTo>
                    <a:pt x="54" y="126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8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2" y="70"/>
                  </a:lnTo>
                  <a:lnTo>
                    <a:pt x="30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46" y="72"/>
                  </a:lnTo>
                  <a:lnTo>
                    <a:pt x="52" y="82"/>
                  </a:lnTo>
                  <a:lnTo>
                    <a:pt x="56" y="92"/>
                  </a:lnTo>
                  <a:lnTo>
                    <a:pt x="60" y="104"/>
                  </a:lnTo>
                  <a:lnTo>
                    <a:pt x="62" y="114"/>
                  </a:lnTo>
                  <a:lnTo>
                    <a:pt x="62" y="128"/>
                  </a:lnTo>
                  <a:lnTo>
                    <a:pt x="60" y="140"/>
                  </a:lnTo>
                  <a:lnTo>
                    <a:pt x="58" y="150"/>
                  </a:lnTo>
                  <a:lnTo>
                    <a:pt x="58" y="150"/>
                  </a:lnTo>
                  <a:lnTo>
                    <a:pt x="54" y="154"/>
                  </a:lnTo>
                  <a:lnTo>
                    <a:pt x="54" y="154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0" y="140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90" y="114"/>
                  </a:lnTo>
                  <a:lnTo>
                    <a:pt x="94" y="102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78"/>
                  </a:lnTo>
                  <a:lnTo>
                    <a:pt x="116" y="72"/>
                  </a:lnTo>
                  <a:lnTo>
                    <a:pt x="124" y="70"/>
                  </a:lnTo>
                  <a:lnTo>
                    <a:pt x="128" y="70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18" y="80"/>
                  </a:lnTo>
                  <a:lnTo>
                    <a:pt x="112" y="88"/>
                  </a:lnTo>
                  <a:lnTo>
                    <a:pt x="106" y="96"/>
                  </a:lnTo>
                  <a:lnTo>
                    <a:pt x="102" y="108"/>
                  </a:lnTo>
                  <a:lnTo>
                    <a:pt x="98" y="118"/>
                  </a:lnTo>
                  <a:lnTo>
                    <a:pt x="98" y="130"/>
                  </a:lnTo>
                  <a:lnTo>
                    <a:pt x="98" y="142"/>
                  </a:lnTo>
                  <a:lnTo>
                    <a:pt x="100" y="154"/>
                  </a:lnTo>
                  <a:lnTo>
                    <a:pt x="100" y="154"/>
                  </a:lnTo>
                  <a:lnTo>
                    <a:pt x="104" y="154"/>
                  </a:lnTo>
                  <a:lnTo>
                    <a:pt x="108" y="154"/>
                  </a:lnTo>
                  <a:lnTo>
                    <a:pt x="108" y="154"/>
                  </a:lnTo>
                  <a:lnTo>
                    <a:pt x="110" y="156"/>
                  </a:lnTo>
                  <a:lnTo>
                    <a:pt x="112" y="156"/>
                  </a:lnTo>
                  <a:lnTo>
                    <a:pt x="112" y="156"/>
                  </a:lnTo>
                  <a:close/>
                  <a:moveTo>
                    <a:pt x="112" y="162"/>
                  </a:moveTo>
                  <a:lnTo>
                    <a:pt x="112" y="162"/>
                  </a:lnTo>
                  <a:lnTo>
                    <a:pt x="98" y="162"/>
                  </a:lnTo>
                  <a:lnTo>
                    <a:pt x="84" y="162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46" y="162"/>
                  </a:lnTo>
                  <a:lnTo>
                    <a:pt x="46" y="162"/>
                  </a:lnTo>
                  <a:lnTo>
                    <a:pt x="46" y="172"/>
                  </a:lnTo>
                  <a:lnTo>
                    <a:pt x="46" y="172"/>
                  </a:lnTo>
                  <a:lnTo>
                    <a:pt x="62" y="174"/>
                  </a:lnTo>
                  <a:lnTo>
                    <a:pt x="78" y="174"/>
                  </a:lnTo>
                  <a:lnTo>
                    <a:pt x="112" y="172"/>
                  </a:lnTo>
                  <a:lnTo>
                    <a:pt x="112" y="172"/>
                  </a:lnTo>
                  <a:lnTo>
                    <a:pt x="114" y="166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2"/>
                  </a:lnTo>
                  <a:lnTo>
                    <a:pt x="112" y="162"/>
                  </a:lnTo>
                  <a:close/>
                  <a:moveTo>
                    <a:pt x="46" y="178"/>
                  </a:moveTo>
                  <a:lnTo>
                    <a:pt x="46" y="178"/>
                  </a:lnTo>
                  <a:lnTo>
                    <a:pt x="46" y="180"/>
                  </a:lnTo>
                  <a:lnTo>
                    <a:pt x="46" y="180"/>
                  </a:lnTo>
                  <a:lnTo>
                    <a:pt x="46" y="190"/>
                  </a:lnTo>
                  <a:lnTo>
                    <a:pt x="46" y="190"/>
                  </a:lnTo>
                  <a:lnTo>
                    <a:pt x="54" y="190"/>
                  </a:lnTo>
                  <a:lnTo>
                    <a:pt x="62" y="192"/>
                  </a:lnTo>
                  <a:lnTo>
                    <a:pt x="62" y="192"/>
                  </a:lnTo>
                  <a:lnTo>
                    <a:pt x="86" y="194"/>
                  </a:lnTo>
                  <a:lnTo>
                    <a:pt x="110" y="194"/>
                  </a:lnTo>
                  <a:lnTo>
                    <a:pt x="110" y="194"/>
                  </a:lnTo>
                  <a:lnTo>
                    <a:pt x="110" y="180"/>
                  </a:lnTo>
                  <a:lnTo>
                    <a:pt x="110" y="180"/>
                  </a:lnTo>
                  <a:lnTo>
                    <a:pt x="94" y="180"/>
                  </a:lnTo>
                  <a:lnTo>
                    <a:pt x="78" y="180"/>
                  </a:lnTo>
                  <a:lnTo>
                    <a:pt x="62" y="180"/>
                  </a:lnTo>
                  <a:lnTo>
                    <a:pt x="46" y="178"/>
                  </a:lnTo>
                  <a:lnTo>
                    <a:pt x="46" y="178"/>
                  </a:lnTo>
                  <a:close/>
                  <a:moveTo>
                    <a:pt x="50" y="210"/>
                  </a:moveTo>
                  <a:lnTo>
                    <a:pt x="50" y="210"/>
                  </a:lnTo>
                  <a:lnTo>
                    <a:pt x="64" y="210"/>
                  </a:lnTo>
                  <a:lnTo>
                    <a:pt x="78" y="210"/>
                  </a:lnTo>
                  <a:lnTo>
                    <a:pt x="106" y="210"/>
                  </a:lnTo>
                  <a:lnTo>
                    <a:pt x="106" y="210"/>
                  </a:lnTo>
                  <a:lnTo>
                    <a:pt x="108" y="200"/>
                  </a:lnTo>
                  <a:lnTo>
                    <a:pt x="108" y="200"/>
                  </a:lnTo>
                  <a:lnTo>
                    <a:pt x="90" y="200"/>
                  </a:lnTo>
                  <a:lnTo>
                    <a:pt x="90" y="200"/>
                  </a:lnTo>
                  <a:lnTo>
                    <a:pt x="68" y="200"/>
                  </a:lnTo>
                  <a:lnTo>
                    <a:pt x="46" y="196"/>
                  </a:lnTo>
                  <a:lnTo>
                    <a:pt x="46" y="196"/>
                  </a:lnTo>
                  <a:lnTo>
                    <a:pt x="48" y="204"/>
                  </a:lnTo>
                  <a:lnTo>
                    <a:pt x="50" y="210"/>
                  </a:lnTo>
                  <a:lnTo>
                    <a:pt x="50" y="210"/>
                  </a:lnTo>
                  <a:close/>
                  <a:moveTo>
                    <a:pt x="66" y="224"/>
                  </a:moveTo>
                  <a:lnTo>
                    <a:pt x="66" y="224"/>
                  </a:lnTo>
                  <a:lnTo>
                    <a:pt x="70" y="224"/>
                  </a:lnTo>
                  <a:lnTo>
                    <a:pt x="70" y="224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0" y="218"/>
                  </a:lnTo>
                  <a:lnTo>
                    <a:pt x="68" y="218"/>
                  </a:lnTo>
                  <a:lnTo>
                    <a:pt x="66" y="224"/>
                  </a:lnTo>
                  <a:lnTo>
                    <a:pt x="66" y="224"/>
                  </a:lnTo>
                  <a:close/>
                  <a:moveTo>
                    <a:pt x="56" y="218"/>
                  </a:moveTo>
                  <a:lnTo>
                    <a:pt x="56" y="218"/>
                  </a:lnTo>
                  <a:lnTo>
                    <a:pt x="58" y="220"/>
                  </a:lnTo>
                  <a:lnTo>
                    <a:pt x="60" y="220"/>
                  </a:lnTo>
                  <a:lnTo>
                    <a:pt x="60" y="220"/>
                  </a:lnTo>
                  <a:lnTo>
                    <a:pt x="60" y="218"/>
                  </a:lnTo>
                  <a:lnTo>
                    <a:pt x="60" y="218"/>
                  </a:lnTo>
                  <a:lnTo>
                    <a:pt x="56" y="218"/>
                  </a:lnTo>
                  <a:lnTo>
                    <a:pt x="56" y="218"/>
                  </a:lnTo>
                  <a:close/>
                  <a:moveTo>
                    <a:pt x="62" y="222"/>
                  </a:moveTo>
                  <a:lnTo>
                    <a:pt x="62" y="222"/>
                  </a:lnTo>
                  <a:lnTo>
                    <a:pt x="64" y="220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74" y="226"/>
                  </a:moveTo>
                  <a:lnTo>
                    <a:pt x="74" y="226"/>
                  </a:lnTo>
                  <a:lnTo>
                    <a:pt x="76" y="222"/>
                  </a:lnTo>
                  <a:lnTo>
                    <a:pt x="78" y="218"/>
                  </a:lnTo>
                  <a:lnTo>
                    <a:pt x="78" y="218"/>
                  </a:lnTo>
                  <a:lnTo>
                    <a:pt x="74" y="220"/>
                  </a:lnTo>
                  <a:lnTo>
                    <a:pt x="74" y="226"/>
                  </a:lnTo>
                  <a:lnTo>
                    <a:pt x="74" y="226"/>
                  </a:lnTo>
                  <a:close/>
                  <a:moveTo>
                    <a:pt x="78" y="226"/>
                  </a:moveTo>
                  <a:lnTo>
                    <a:pt x="78" y="226"/>
                  </a:lnTo>
                  <a:lnTo>
                    <a:pt x="82" y="226"/>
                  </a:lnTo>
                  <a:lnTo>
                    <a:pt x="82" y="226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2" y="218"/>
                  </a:lnTo>
                  <a:lnTo>
                    <a:pt x="80" y="222"/>
                  </a:lnTo>
                  <a:lnTo>
                    <a:pt x="78" y="226"/>
                  </a:lnTo>
                  <a:lnTo>
                    <a:pt x="78" y="226"/>
                  </a:lnTo>
                  <a:close/>
                  <a:moveTo>
                    <a:pt x="84" y="228"/>
                  </a:moveTo>
                  <a:lnTo>
                    <a:pt x="84" y="228"/>
                  </a:lnTo>
                  <a:lnTo>
                    <a:pt x="88" y="228"/>
                  </a:lnTo>
                  <a:lnTo>
                    <a:pt x="88" y="228"/>
                  </a:lnTo>
                  <a:lnTo>
                    <a:pt x="92" y="218"/>
                  </a:lnTo>
                  <a:lnTo>
                    <a:pt x="92" y="218"/>
                  </a:lnTo>
                  <a:lnTo>
                    <a:pt x="88" y="218"/>
                  </a:lnTo>
                  <a:lnTo>
                    <a:pt x="86" y="222"/>
                  </a:lnTo>
                  <a:lnTo>
                    <a:pt x="84" y="228"/>
                  </a:lnTo>
                  <a:lnTo>
                    <a:pt x="84" y="228"/>
                  </a:lnTo>
                  <a:close/>
                  <a:moveTo>
                    <a:pt x="96" y="218"/>
                  </a:moveTo>
                  <a:lnTo>
                    <a:pt x="96" y="218"/>
                  </a:lnTo>
                  <a:lnTo>
                    <a:pt x="92" y="222"/>
                  </a:lnTo>
                  <a:lnTo>
                    <a:pt x="92" y="226"/>
                  </a:lnTo>
                  <a:lnTo>
                    <a:pt x="92" y="226"/>
                  </a:lnTo>
                  <a:lnTo>
                    <a:pt x="96" y="226"/>
                  </a:lnTo>
                  <a:lnTo>
                    <a:pt x="96" y="226"/>
                  </a:lnTo>
                  <a:lnTo>
                    <a:pt x="100" y="218"/>
                  </a:lnTo>
                  <a:lnTo>
                    <a:pt x="100" y="218"/>
                  </a:lnTo>
                  <a:lnTo>
                    <a:pt x="98" y="218"/>
                  </a:lnTo>
                  <a:lnTo>
                    <a:pt x="96" y="218"/>
                  </a:lnTo>
                  <a:lnTo>
                    <a:pt x="96" y="218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1198">
              <a:extLst>
                <a:ext uri="{FF2B5EF4-FFF2-40B4-BE49-F238E27FC236}">
                  <a16:creationId xmlns:a16="http://schemas.microsoft.com/office/drawing/2014/main" id="{AC4D68B7-AF6F-4F5D-87FB-A678B369B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11538" y="204787"/>
              <a:ext cx="19050" cy="22225"/>
            </a:xfrm>
            <a:custGeom>
              <a:avLst/>
              <a:gdLst>
                <a:gd name="T0" fmla="*/ 10 w 12"/>
                <a:gd name="T1" fmla="*/ 14 h 14"/>
                <a:gd name="T2" fmla="*/ 10 w 12"/>
                <a:gd name="T3" fmla="*/ 14 h 14"/>
                <a:gd name="T4" fmla="*/ 8 w 12"/>
                <a:gd name="T5" fmla="*/ 12 h 14"/>
                <a:gd name="T6" fmla="*/ 6 w 12"/>
                <a:gd name="T7" fmla="*/ 10 h 14"/>
                <a:gd name="T8" fmla="*/ 6 w 12"/>
                <a:gd name="T9" fmla="*/ 10 h 14"/>
                <a:gd name="T10" fmla="*/ 2 w 12"/>
                <a:gd name="T11" fmla="*/ 6 h 14"/>
                <a:gd name="T12" fmla="*/ 0 w 12"/>
                <a:gd name="T13" fmla="*/ 4 h 14"/>
                <a:gd name="T14" fmla="*/ 0 w 12"/>
                <a:gd name="T15" fmla="*/ 4 h 14"/>
                <a:gd name="T16" fmla="*/ 2 w 12"/>
                <a:gd name="T17" fmla="*/ 0 h 14"/>
                <a:gd name="T18" fmla="*/ 6 w 12"/>
                <a:gd name="T19" fmla="*/ 0 h 14"/>
                <a:gd name="T20" fmla="*/ 6 w 12"/>
                <a:gd name="T21" fmla="*/ 0 h 14"/>
                <a:gd name="T22" fmla="*/ 10 w 12"/>
                <a:gd name="T23" fmla="*/ 4 h 14"/>
                <a:gd name="T24" fmla="*/ 12 w 12"/>
                <a:gd name="T25" fmla="*/ 10 h 14"/>
                <a:gd name="T26" fmla="*/ 12 w 12"/>
                <a:gd name="T27" fmla="*/ 10 h 14"/>
                <a:gd name="T28" fmla="*/ 10 w 12"/>
                <a:gd name="T29" fmla="*/ 14 h 14"/>
                <a:gd name="T30" fmla="*/ 10 w 12"/>
                <a:gd name="T3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lnTo>
                    <a:pt x="10" y="14"/>
                  </a:lnTo>
                  <a:lnTo>
                    <a:pt x="8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0" y="4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0" y="14"/>
                  </a:lnTo>
                  <a:lnTo>
                    <a:pt x="10" y="14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0" name="Freeform 1199">
              <a:extLst>
                <a:ext uri="{FF2B5EF4-FFF2-40B4-BE49-F238E27FC236}">
                  <a16:creationId xmlns:a16="http://schemas.microsoft.com/office/drawing/2014/main" id="{A420692F-1BE2-4D46-9CF7-7470FD2FF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51188" y="211137"/>
              <a:ext cx="25400" cy="19050"/>
            </a:xfrm>
            <a:custGeom>
              <a:avLst/>
              <a:gdLst>
                <a:gd name="T0" fmla="*/ 16 w 16"/>
                <a:gd name="T1" fmla="*/ 0 h 12"/>
                <a:gd name="T2" fmla="*/ 16 w 16"/>
                <a:gd name="T3" fmla="*/ 0 h 12"/>
                <a:gd name="T4" fmla="*/ 16 w 16"/>
                <a:gd name="T5" fmla="*/ 4 h 12"/>
                <a:gd name="T6" fmla="*/ 16 w 16"/>
                <a:gd name="T7" fmla="*/ 6 h 12"/>
                <a:gd name="T8" fmla="*/ 16 w 16"/>
                <a:gd name="T9" fmla="*/ 6 h 12"/>
                <a:gd name="T10" fmla="*/ 12 w 16"/>
                <a:gd name="T11" fmla="*/ 8 h 12"/>
                <a:gd name="T12" fmla="*/ 6 w 16"/>
                <a:gd name="T13" fmla="*/ 10 h 12"/>
                <a:gd name="T14" fmla="*/ 6 w 16"/>
                <a:gd name="T15" fmla="*/ 10 h 12"/>
                <a:gd name="T16" fmla="*/ 4 w 16"/>
                <a:gd name="T17" fmla="*/ 12 h 12"/>
                <a:gd name="T18" fmla="*/ 4 w 16"/>
                <a:gd name="T19" fmla="*/ 12 h 12"/>
                <a:gd name="T20" fmla="*/ 2 w 16"/>
                <a:gd name="T21" fmla="*/ 10 h 12"/>
                <a:gd name="T22" fmla="*/ 0 w 16"/>
                <a:gd name="T23" fmla="*/ 10 h 12"/>
                <a:gd name="T24" fmla="*/ 0 w 16"/>
                <a:gd name="T25" fmla="*/ 10 h 12"/>
                <a:gd name="T26" fmla="*/ 2 w 16"/>
                <a:gd name="T27" fmla="*/ 6 h 12"/>
                <a:gd name="T28" fmla="*/ 6 w 16"/>
                <a:gd name="T29" fmla="*/ 2 h 12"/>
                <a:gd name="T30" fmla="*/ 10 w 16"/>
                <a:gd name="T31" fmla="*/ 0 h 12"/>
                <a:gd name="T32" fmla="*/ 16 w 16"/>
                <a:gd name="T33" fmla="*/ 0 h 12"/>
                <a:gd name="T34" fmla="*/ 16 w 16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2">
                  <a:moveTo>
                    <a:pt x="16" y="0"/>
                  </a:moveTo>
                  <a:lnTo>
                    <a:pt x="16" y="0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1" name="Freeform 1200">
              <a:extLst>
                <a:ext uri="{FF2B5EF4-FFF2-40B4-BE49-F238E27FC236}">
                  <a16:creationId xmlns:a16="http://schemas.microsoft.com/office/drawing/2014/main" id="{5E97F760-A363-458A-B0C9-152E445D9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19438" y="265112"/>
              <a:ext cx="25400" cy="12700"/>
            </a:xfrm>
            <a:custGeom>
              <a:avLst/>
              <a:gdLst>
                <a:gd name="T0" fmla="*/ 16 w 16"/>
                <a:gd name="T1" fmla="*/ 4 h 8"/>
                <a:gd name="T2" fmla="*/ 16 w 16"/>
                <a:gd name="T3" fmla="*/ 4 h 8"/>
                <a:gd name="T4" fmla="*/ 12 w 16"/>
                <a:gd name="T5" fmla="*/ 8 h 8"/>
                <a:gd name="T6" fmla="*/ 6 w 16"/>
                <a:gd name="T7" fmla="*/ 8 h 8"/>
                <a:gd name="T8" fmla="*/ 0 w 16"/>
                <a:gd name="T9" fmla="*/ 6 h 8"/>
                <a:gd name="T10" fmla="*/ 0 w 16"/>
                <a:gd name="T11" fmla="*/ 4 h 8"/>
                <a:gd name="T12" fmla="*/ 0 w 16"/>
                <a:gd name="T13" fmla="*/ 0 h 8"/>
                <a:gd name="T14" fmla="*/ 0 w 16"/>
                <a:gd name="T15" fmla="*/ 0 h 8"/>
                <a:gd name="T16" fmla="*/ 4 w 16"/>
                <a:gd name="T17" fmla="*/ 0 h 8"/>
                <a:gd name="T18" fmla="*/ 8 w 16"/>
                <a:gd name="T19" fmla="*/ 0 h 8"/>
                <a:gd name="T20" fmla="*/ 16 w 16"/>
                <a:gd name="T21" fmla="*/ 4 h 8"/>
                <a:gd name="T22" fmla="*/ 16 w 16"/>
                <a:gd name="T2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6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2" name="Freeform 1201">
              <a:extLst>
                <a:ext uri="{FF2B5EF4-FFF2-40B4-BE49-F238E27FC236}">
                  <a16:creationId xmlns:a16="http://schemas.microsoft.com/office/drawing/2014/main" id="{C8D75A8D-C9D4-476C-AB3A-0A54AF831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46463" y="268287"/>
              <a:ext cx="22225" cy="15875"/>
            </a:xfrm>
            <a:custGeom>
              <a:avLst/>
              <a:gdLst>
                <a:gd name="T0" fmla="*/ 0 w 14"/>
                <a:gd name="T1" fmla="*/ 0 h 10"/>
                <a:gd name="T2" fmla="*/ 0 w 14"/>
                <a:gd name="T3" fmla="*/ 0 h 10"/>
                <a:gd name="T4" fmla="*/ 4 w 14"/>
                <a:gd name="T5" fmla="*/ 0 h 10"/>
                <a:gd name="T6" fmla="*/ 8 w 14"/>
                <a:gd name="T7" fmla="*/ 0 h 10"/>
                <a:gd name="T8" fmla="*/ 8 w 14"/>
                <a:gd name="T9" fmla="*/ 0 h 10"/>
                <a:gd name="T10" fmla="*/ 14 w 14"/>
                <a:gd name="T11" fmla="*/ 4 h 10"/>
                <a:gd name="T12" fmla="*/ 14 w 14"/>
                <a:gd name="T13" fmla="*/ 4 h 10"/>
                <a:gd name="T14" fmla="*/ 14 w 14"/>
                <a:gd name="T15" fmla="*/ 8 h 10"/>
                <a:gd name="T16" fmla="*/ 12 w 14"/>
                <a:gd name="T17" fmla="*/ 10 h 10"/>
                <a:gd name="T18" fmla="*/ 12 w 14"/>
                <a:gd name="T19" fmla="*/ 10 h 10"/>
                <a:gd name="T20" fmla="*/ 10 w 14"/>
                <a:gd name="T21" fmla="*/ 8 h 10"/>
                <a:gd name="T22" fmla="*/ 6 w 14"/>
                <a:gd name="T23" fmla="*/ 6 h 10"/>
                <a:gd name="T24" fmla="*/ 6 w 14"/>
                <a:gd name="T25" fmla="*/ 6 h 10"/>
                <a:gd name="T26" fmla="*/ 0 w 14"/>
                <a:gd name="T27" fmla="*/ 4 h 10"/>
                <a:gd name="T28" fmla="*/ 0 w 14"/>
                <a:gd name="T29" fmla="*/ 2 h 10"/>
                <a:gd name="T30" fmla="*/ 0 w 14"/>
                <a:gd name="T31" fmla="*/ 0 h 10"/>
                <a:gd name="T32" fmla="*/ 0 w 14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0">
                  <a:moveTo>
                    <a:pt x="0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8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0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 1202">
              <a:extLst>
                <a:ext uri="{FF2B5EF4-FFF2-40B4-BE49-F238E27FC236}">
                  <a16:creationId xmlns:a16="http://schemas.microsoft.com/office/drawing/2014/main" id="{5FC40512-27F1-4DE4-A0BE-23B3DDFAC5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348038" y="274637"/>
              <a:ext cx="120650" cy="53975"/>
            </a:xfrm>
            <a:custGeom>
              <a:avLst/>
              <a:gdLst>
                <a:gd name="T0" fmla="*/ 54 w 76"/>
                <a:gd name="T1" fmla="*/ 26 h 34"/>
                <a:gd name="T2" fmla="*/ 64 w 76"/>
                <a:gd name="T3" fmla="*/ 26 h 34"/>
                <a:gd name="T4" fmla="*/ 76 w 76"/>
                <a:gd name="T5" fmla="*/ 22 h 34"/>
                <a:gd name="T6" fmla="*/ 76 w 76"/>
                <a:gd name="T7" fmla="*/ 24 h 34"/>
                <a:gd name="T8" fmla="*/ 72 w 76"/>
                <a:gd name="T9" fmla="*/ 30 h 34"/>
                <a:gd name="T10" fmla="*/ 64 w 76"/>
                <a:gd name="T11" fmla="*/ 32 h 34"/>
                <a:gd name="T12" fmla="*/ 56 w 76"/>
                <a:gd name="T13" fmla="*/ 34 h 34"/>
                <a:gd name="T14" fmla="*/ 46 w 76"/>
                <a:gd name="T15" fmla="*/ 30 h 34"/>
                <a:gd name="T16" fmla="*/ 42 w 76"/>
                <a:gd name="T17" fmla="*/ 34 h 34"/>
                <a:gd name="T18" fmla="*/ 36 w 76"/>
                <a:gd name="T19" fmla="*/ 34 h 34"/>
                <a:gd name="T20" fmla="*/ 20 w 76"/>
                <a:gd name="T21" fmla="*/ 34 h 34"/>
                <a:gd name="T22" fmla="*/ 16 w 76"/>
                <a:gd name="T23" fmla="*/ 32 h 34"/>
                <a:gd name="T24" fmla="*/ 6 w 76"/>
                <a:gd name="T25" fmla="*/ 24 h 34"/>
                <a:gd name="T26" fmla="*/ 2 w 76"/>
                <a:gd name="T27" fmla="*/ 20 h 34"/>
                <a:gd name="T28" fmla="*/ 0 w 76"/>
                <a:gd name="T29" fmla="*/ 16 h 34"/>
                <a:gd name="T30" fmla="*/ 2 w 76"/>
                <a:gd name="T31" fmla="*/ 14 h 34"/>
                <a:gd name="T32" fmla="*/ 6 w 76"/>
                <a:gd name="T33" fmla="*/ 14 h 34"/>
                <a:gd name="T34" fmla="*/ 14 w 76"/>
                <a:gd name="T35" fmla="*/ 18 h 34"/>
                <a:gd name="T36" fmla="*/ 18 w 76"/>
                <a:gd name="T37" fmla="*/ 24 h 34"/>
                <a:gd name="T38" fmla="*/ 16 w 76"/>
                <a:gd name="T39" fmla="*/ 12 h 34"/>
                <a:gd name="T40" fmla="*/ 18 w 76"/>
                <a:gd name="T41" fmla="*/ 8 h 34"/>
                <a:gd name="T42" fmla="*/ 22 w 76"/>
                <a:gd name="T43" fmla="*/ 2 h 34"/>
                <a:gd name="T44" fmla="*/ 32 w 76"/>
                <a:gd name="T45" fmla="*/ 4 h 34"/>
                <a:gd name="T46" fmla="*/ 38 w 76"/>
                <a:gd name="T47" fmla="*/ 12 h 34"/>
                <a:gd name="T48" fmla="*/ 42 w 76"/>
                <a:gd name="T49" fmla="*/ 2 h 34"/>
                <a:gd name="T50" fmla="*/ 54 w 76"/>
                <a:gd name="T51" fmla="*/ 2 h 34"/>
                <a:gd name="T52" fmla="*/ 56 w 76"/>
                <a:gd name="T53" fmla="*/ 4 h 34"/>
                <a:gd name="T54" fmla="*/ 58 w 76"/>
                <a:gd name="T55" fmla="*/ 8 h 34"/>
                <a:gd name="T56" fmla="*/ 54 w 76"/>
                <a:gd name="T57" fmla="*/ 26 h 34"/>
                <a:gd name="T58" fmla="*/ 48 w 76"/>
                <a:gd name="T59" fmla="*/ 18 h 34"/>
                <a:gd name="T60" fmla="*/ 50 w 76"/>
                <a:gd name="T61" fmla="*/ 14 h 34"/>
                <a:gd name="T62" fmla="*/ 52 w 76"/>
                <a:gd name="T63" fmla="*/ 8 h 34"/>
                <a:gd name="T64" fmla="*/ 48 w 76"/>
                <a:gd name="T65" fmla="*/ 10 h 34"/>
                <a:gd name="T66" fmla="*/ 48 w 76"/>
                <a:gd name="T67" fmla="*/ 18 h 34"/>
                <a:gd name="T68" fmla="*/ 26 w 76"/>
                <a:gd name="T69" fmla="*/ 10 h 34"/>
                <a:gd name="T70" fmla="*/ 24 w 76"/>
                <a:gd name="T71" fmla="*/ 14 h 34"/>
                <a:gd name="T72" fmla="*/ 26 w 76"/>
                <a:gd name="T73" fmla="*/ 20 h 34"/>
                <a:gd name="T74" fmla="*/ 32 w 76"/>
                <a:gd name="T75" fmla="*/ 26 h 34"/>
                <a:gd name="T76" fmla="*/ 32 w 76"/>
                <a:gd name="T77" fmla="*/ 20 h 34"/>
                <a:gd name="T78" fmla="*/ 30 w 76"/>
                <a:gd name="T79" fmla="*/ 12 h 34"/>
                <a:gd name="T80" fmla="*/ 26 w 76"/>
                <a:gd name="T81" fmla="*/ 10 h 34"/>
                <a:gd name="T82" fmla="*/ 40 w 76"/>
                <a:gd name="T83" fmla="*/ 26 h 34"/>
                <a:gd name="T84" fmla="*/ 42 w 76"/>
                <a:gd name="T85" fmla="*/ 26 h 34"/>
                <a:gd name="T86" fmla="*/ 40 w 76"/>
                <a:gd name="T87" fmla="*/ 24 h 34"/>
                <a:gd name="T88" fmla="*/ 40 w 76"/>
                <a:gd name="T89" fmla="*/ 2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34">
                  <a:moveTo>
                    <a:pt x="54" y="26"/>
                  </a:moveTo>
                  <a:lnTo>
                    <a:pt x="54" y="26"/>
                  </a:lnTo>
                  <a:lnTo>
                    <a:pt x="58" y="26"/>
                  </a:lnTo>
                  <a:lnTo>
                    <a:pt x="64" y="26"/>
                  </a:lnTo>
                  <a:lnTo>
                    <a:pt x="70" y="24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4"/>
                  </a:lnTo>
                  <a:lnTo>
                    <a:pt x="74" y="26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4" y="32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6"/>
                  </a:lnTo>
                  <a:lnTo>
                    <a:pt x="14" y="18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8" y="2"/>
                  </a:lnTo>
                  <a:lnTo>
                    <a:pt x="32" y="4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40" y="6"/>
                  </a:lnTo>
                  <a:lnTo>
                    <a:pt x="42" y="2"/>
                  </a:lnTo>
                  <a:lnTo>
                    <a:pt x="48" y="0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8"/>
                  </a:lnTo>
                  <a:lnTo>
                    <a:pt x="54" y="26"/>
                  </a:lnTo>
                  <a:lnTo>
                    <a:pt x="54" y="26"/>
                  </a:lnTo>
                  <a:close/>
                  <a:moveTo>
                    <a:pt x="48" y="18"/>
                  </a:moveTo>
                  <a:lnTo>
                    <a:pt x="48" y="18"/>
                  </a:lnTo>
                  <a:lnTo>
                    <a:pt x="50" y="1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18"/>
                  </a:lnTo>
                  <a:lnTo>
                    <a:pt x="48" y="18"/>
                  </a:lnTo>
                  <a:close/>
                  <a:moveTo>
                    <a:pt x="26" y="10"/>
                  </a:moveTo>
                  <a:lnTo>
                    <a:pt x="26" y="10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6" y="20"/>
                  </a:lnTo>
                  <a:lnTo>
                    <a:pt x="28" y="24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0" y="12"/>
                  </a:lnTo>
                  <a:lnTo>
                    <a:pt x="26" y="10"/>
                  </a:lnTo>
                  <a:lnTo>
                    <a:pt x="26" y="10"/>
                  </a:lnTo>
                  <a:close/>
                  <a:moveTo>
                    <a:pt x="40" y="26"/>
                  </a:moveTo>
                  <a:lnTo>
                    <a:pt x="40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6"/>
                  </a:lnTo>
                  <a:lnTo>
                    <a:pt x="40" y="26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4" name="Freeform 1203">
              <a:extLst>
                <a:ext uri="{FF2B5EF4-FFF2-40B4-BE49-F238E27FC236}">
                  <a16:creationId xmlns:a16="http://schemas.microsoft.com/office/drawing/2014/main" id="{22BE2D77-50B9-48D0-88E5-EDB83570F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16263" y="306387"/>
              <a:ext cx="31750" cy="15875"/>
            </a:xfrm>
            <a:custGeom>
              <a:avLst/>
              <a:gdLst>
                <a:gd name="T0" fmla="*/ 2 w 20"/>
                <a:gd name="T1" fmla="*/ 0 h 10"/>
                <a:gd name="T2" fmla="*/ 2 w 20"/>
                <a:gd name="T3" fmla="*/ 0 h 10"/>
                <a:gd name="T4" fmla="*/ 6 w 20"/>
                <a:gd name="T5" fmla="*/ 0 h 10"/>
                <a:gd name="T6" fmla="*/ 10 w 20"/>
                <a:gd name="T7" fmla="*/ 2 h 10"/>
                <a:gd name="T8" fmla="*/ 10 w 20"/>
                <a:gd name="T9" fmla="*/ 2 h 10"/>
                <a:gd name="T10" fmla="*/ 16 w 20"/>
                <a:gd name="T11" fmla="*/ 4 h 10"/>
                <a:gd name="T12" fmla="*/ 20 w 20"/>
                <a:gd name="T13" fmla="*/ 6 h 10"/>
                <a:gd name="T14" fmla="*/ 20 w 20"/>
                <a:gd name="T15" fmla="*/ 10 h 10"/>
                <a:gd name="T16" fmla="*/ 20 w 20"/>
                <a:gd name="T17" fmla="*/ 10 h 10"/>
                <a:gd name="T18" fmla="*/ 16 w 20"/>
                <a:gd name="T19" fmla="*/ 10 h 10"/>
                <a:gd name="T20" fmla="*/ 12 w 20"/>
                <a:gd name="T21" fmla="*/ 10 h 10"/>
                <a:gd name="T22" fmla="*/ 2 w 20"/>
                <a:gd name="T23" fmla="*/ 8 h 10"/>
                <a:gd name="T24" fmla="*/ 2 w 20"/>
                <a:gd name="T25" fmla="*/ 8 h 10"/>
                <a:gd name="T26" fmla="*/ 0 w 20"/>
                <a:gd name="T27" fmla="*/ 4 h 10"/>
                <a:gd name="T28" fmla="*/ 0 w 20"/>
                <a:gd name="T29" fmla="*/ 2 h 10"/>
                <a:gd name="T30" fmla="*/ 2 w 20"/>
                <a:gd name="T31" fmla="*/ 0 h 10"/>
                <a:gd name="T32" fmla="*/ 2 w 20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0">
                  <a:moveTo>
                    <a:pt x="2" y="0"/>
                  </a:moveTo>
                  <a:lnTo>
                    <a:pt x="2" y="0"/>
                  </a:lnTo>
                  <a:lnTo>
                    <a:pt x="6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6" y="4"/>
                  </a:lnTo>
                  <a:lnTo>
                    <a:pt x="20" y="6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6" y="10"/>
                  </a:lnTo>
                  <a:lnTo>
                    <a:pt x="12" y="10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204">
              <a:extLst>
                <a:ext uri="{FF2B5EF4-FFF2-40B4-BE49-F238E27FC236}">
                  <a16:creationId xmlns:a16="http://schemas.microsoft.com/office/drawing/2014/main" id="{34E4883C-4FD1-45D9-9673-BE6840C9C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9163" y="334962"/>
              <a:ext cx="28575" cy="9525"/>
            </a:xfrm>
            <a:custGeom>
              <a:avLst/>
              <a:gdLst>
                <a:gd name="T0" fmla="*/ 4 w 18"/>
                <a:gd name="T1" fmla="*/ 0 h 6"/>
                <a:gd name="T2" fmla="*/ 4 w 18"/>
                <a:gd name="T3" fmla="*/ 0 h 6"/>
                <a:gd name="T4" fmla="*/ 12 w 18"/>
                <a:gd name="T5" fmla="*/ 0 h 6"/>
                <a:gd name="T6" fmla="*/ 16 w 18"/>
                <a:gd name="T7" fmla="*/ 0 h 6"/>
                <a:gd name="T8" fmla="*/ 18 w 18"/>
                <a:gd name="T9" fmla="*/ 2 h 6"/>
                <a:gd name="T10" fmla="*/ 18 w 18"/>
                <a:gd name="T11" fmla="*/ 2 h 6"/>
                <a:gd name="T12" fmla="*/ 16 w 18"/>
                <a:gd name="T13" fmla="*/ 4 h 6"/>
                <a:gd name="T14" fmla="*/ 12 w 18"/>
                <a:gd name="T15" fmla="*/ 6 h 6"/>
                <a:gd name="T16" fmla="*/ 12 w 18"/>
                <a:gd name="T17" fmla="*/ 6 h 6"/>
                <a:gd name="T18" fmla="*/ 4 w 18"/>
                <a:gd name="T19" fmla="*/ 6 h 6"/>
                <a:gd name="T20" fmla="*/ 4 w 18"/>
                <a:gd name="T21" fmla="*/ 6 h 6"/>
                <a:gd name="T22" fmla="*/ 0 w 18"/>
                <a:gd name="T23" fmla="*/ 4 h 6"/>
                <a:gd name="T24" fmla="*/ 0 w 18"/>
                <a:gd name="T25" fmla="*/ 2 h 6"/>
                <a:gd name="T26" fmla="*/ 4 w 18"/>
                <a:gd name="T27" fmla="*/ 0 h 6"/>
                <a:gd name="T28" fmla="*/ 4 w 18"/>
                <a:gd name="T2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6">
                  <a:moveTo>
                    <a:pt x="4" y="0"/>
                  </a:moveTo>
                  <a:lnTo>
                    <a:pt x="4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4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 1205">
              <a:extLst>
                <a:ext uri="{FF2B5EF4-FFF2-40B4-BE49-F238E27FC236}">
                  <a16:creationId xmlns:a16="http://schemas.microsoft.com/office/drawing/2014/main" id="{C9D74ECB-0638-4760-BC6E-E2B4ED30E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16263" y="360362"/>
              <a:ext cx="28575" cy="19050"/>
            </a:xfrm>
            <a:custGeom>
              <a:avLst/>
              <a:gdLst>
                <a:gd name="T0" fmla="*/ 18 w 18"/>
                <a:gd name="T1" fmla="*/ 8 h 12"/>
                <a:gd name="T2" fmla="*/ 18 w 18"/>
                <a:gd name="T3" fmla="*/ 8 h 12"/>
                <a:gd name="T4" fmla="*/ 16 w 18"/>
                <a:gd name="T5" fmla="*/ 10 h 12"/>
                <a:gd name="T6" fmla="*/ 14 w 18"/>
                <a:gd name="T7" fmla="*/ 12 h 12"/>
                <a:gd name="T8" fmla="*/ 14 w 18"/>
                <a:gd name="T9" fmla="*/ 12 h 12"/>
                <a:gd name="T10" fmla="*/ 6 w 18"/>
                <a:gd name="T11" fmla="*/ 8 h 12"/>
                <a:gd name="T12" fmla="*/ 2 w 18"/>
                <a:gd name="T13" fmla="*/ 6 h 12"/>
                <a:gd name="T14" fmla="*/ 0 w 18"/>
                <a:gd name="T15" fmla="*/ 2 h 12"/>
                <a:gd name="T16" fmla="*/ 0 w 18"/>
                <a:gd name="T17" fmla="*/ 2 h 12"/>
                <a:gd name="T18" fmla="*/ 4 w 18"/>
                <a:gd name="T19" fmla="*/ 0 h 12"/>
                <a:gd name="T20" fmla="*/ 8 w 18"/>
                <a:gd name="T21" fmla="*/ 0 h 12"/>
                <a:gd name="T22" fmla="*/ 16 w 18"/>
                <a:gd name="T23" fmla="*/ 6 h 12"/>
                <a:gd name="T24" fmla="*/ 16 w 18"/>
                <a:gd name="T25" fmla="*/ 6 h 12"/>
                <a:gd name="T26" fmla="*/ 18 w 18"/>
                <a:gd name="T27" fmla="*/ 8 h 12"/>
                <a:gd name="T28" fmla="*/ 18 w 18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12">
                  <a:moveTo>
                    <a:pt x="18" y="8"/>
                  </a:moveTo>
                  <a:lnTo>
                    <a:pt x="18" y="8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8"/>
                  </a:lnTo>
                  <a:lnTo>
                    <a:pt x="18" y="8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1206">
              <a:extLst>
                <a:ext uri="{FF2B5EF4-FFF2-40B4-BE49-F238E27FC236}">
                  <a16:creationId xmlns:a16="http://schemas.microsoft.com/office/drawing/2014/main" id="{02AA85F2-455C-475E-AE5D-5DC9B4F88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33763" y="395287"/>
              <a:ext cx="19050" cy="12700"/>
            </a:xfrm>
            <a:custGeom>
              <a:avLst/>
              <a:gdLst>
                <a:gd name="T0" fmla="*/ 12 w 12"/>
                <a:gd name="T1" fmla="*/ 2 h 8"/>
                <a:gd name="T2" fmla="*/ 12 w 12"/>
                <a:gd name="T3" fmla="*/ 2 h 8"/>
                <a:gd name="T4" fmla="*/ 10 w 12"/>
                <a:gd name="T5" fmla="*/ 4 h 8"/>
                <a:gd name="T6" fmla="*/ 6 w 12"/>
                <a:gd name="T7" fmla="*/ 6 h 8"/>
                <a:gd name="T8" fmla="*/ 2 w 12"/>
                <a:gd name="T9" fmla="*/ 8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2 h 8"/>
                <a:gd name="T16" fmla="*/ 0 w 12"/>
                <a:gd name="T17" fmla="*/ 2 h 8"/>
                <a:gd name="T18" fmla="*/ 6 w 12"/>
                <a:gd name="T19" fmla="*/ 0 h 8"/>
                <a:gd name="T20" fmla="*/ 8 w 12"/>
                <a:gd name="T21" fmla="*/ 0 h 8"/>
                <a:gd name="T22" fmla="*/ 12 w 12"/>
                <a:gd name="T23" fmla="*/ 2 h 8"/>
                <a:gd name="T24" fmla="*/ 12 w 12"/>
                <a:gd name="T2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8">
                  <a:moveTo>
                    <a:pt x="12" y="2"/>
                  </a:moveTo>
                  <a:lnTo>
                    <a:pt x="12" y="2"/>
                  </a:lnTo>
                  <a:lnTo>
                    <a:pt x="10" y="4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2"/>
                  </a:lnTo>
                  <a:lnTo>
                    <a:pt x="12" y="2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1207">
              <a:extLst>
                <a:ext uri="{FF2B5EF4-FFF2-40B4-BE49-F238E27FC236}">
                  <a16:creationId xmlns:a16="http://schemas.microsoft.com/office/drawing/2014/main" id="{891E944D-C0DA-4971-87EA-42D21E176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5313" y="404812"/>
              <a:ext cx="25400" cy="19050"/>
            </a:xfrm>
            <a:custGeom>
              <a:avLst/>
              <a:gdLst>
                <a:gd name="T0" fmla="*/ 14 w 16"/>
                <a:gd name="T1" fmla="*/ 6 h 12"/>
                <a:gd name="T2" fmla="*/ 14 w 16"/>
                <a:gd name="T3" fmla="*/ 6 h 12"/>
                <a:gd name="T4" fmla="*/ 16 w 16"/>
                <a:gd name="T5" fmla="*/ 10 h 12"/>
                <a:gd name="T6" fmla="*/ 14 w 16"/>
                <a:gd name="T7" fmla="*/ 12 h 12"/>
                <a:gd name="T8" fmla="*/ 14 w 16"/>
                <a:gd name="T9" fmla="*/ 12 h 12"/>
                <a:gd name="T10" fmla="*/ 10 w 16"/>
                <a:gd name="T11" fmla="*/ 12 h 12"/>
                <a:gd name="T12" fmla="*/ 8 w 16"/>
                <a:gd name="T13" fmla="*/ 10 h 12"/>
                <a:gd name="T14" fmla="*/ 8 w 16"/>
                <a:gd name="T15" fmla="*/ 10 h 12"/>
                <a:gd name="T16" fmla="*/ 2 w 16"/>
                <a:gd name="T17" fmla="*/ 8 h 12"/>
                <a:gd name="T18" fmla="*/ 0 w 16"/>
                <a:gd name="T19" fmla="*/ 6 h 12"/>
                <a:gd name="T20" fmla="*/ 0 w 16"/>
                <a:gd name="T21" fmla="*/ 2 h 12"/>
                <a:gd name="T22" fmla="*/ 0 w 16"/>
                <a:gd name="T23" fmla="*/ 2 h 12"/>
                <a:gd name="T24" fmla="*/ 0 w 16"/>
                <a:gd name="T25" fmla="*/ 0 h 12"/>
                <a:gd name="T26" fmla="*/ 2 w 16"/>
                <a:gd name="T27" fmla="*/ 0 h 12"/>
                <a:gd name="T28" fmla="*/ 6 w 16"/>
                <a:gd name="T29" fmla="*/ 0 h 12"/>
                <a:gd name="T30" fmla="*/ 14 w 16"/>
                <a:gd name="T31" fmla="*/ 6 h 12"/>
                <a:gd name="T32" fmla="*/ 14 w 16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12">
                  <a:moveTo>
                    <a:pt x="14" y="6"/>
                  </a:moveTo>
                  <a:lnTo>
                    <a:pt x="14" y="6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1208">
              <a:extLst>
                <a:ext uri="{FF2B5EF4-FFF2-40B4-BE49-F238E27FC236}">
                  <a16:creationId xmlns:a16="http://schemas.microsoft.com/office/drawing/2014/main" id="{298D76BC-FE89-4EA7-9F35-4A569069A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11538" y="423862"/>
              <a:ext cx="22225" cy="15875"/>
            </a:xfrm>
            <a:custGeom>
              <a:avLst/>
              <a:gdLst>
                <a:gd name="T0" fmla="*/ 14 w 14"/>
                <a:gd name="T1" fmla="*/ 2 h 10"/>
                <a:gd name="T2" fmla="*/ 14 w 14"/>
                <a:gd name="T3" fmla="*/ 2 h 10"/>
                <a:gd name="T4" fmla="*/ 14 w 14"/>
                <a:gd name="T5" fmla="*/ 4 h 10"/>
                <a:gd name="T6" fmla="*/ 10 w 14"/>
                <a:gd name="T7" fmla="*/ 8 h 10"/>
                <a:gd name="T8" fmla="*/ 4 w 14"/>
                <a:gd name="T9" fmla="*/ 10 h 10"/>
                <a:gd name="T10" fmla="*/ 4 w 14"/>
                <a:gd name="T11" fmla="*/ 10 h 10"/>
                <a:gd name="T12" fmla="*/ 0 w 14"/>
                <a:gd name="T13" fmla="*/ 10 h 10"/>
                <a:gd name="T14" fmla="*/ 0 w 14"/>
                <a:gd name="T15" fmla="*/ 8 h 10"/>
                <a:gd name="T16" fmla="*/ 0 w 14"/>
                <a:gd name="T17" fmla="*/ 8 h 10"/>
                <a:gd name="T18" fmla="*/ 0 w 14"/>
                <a:gd name="T19" fmla="*/ 4 h 10"/>
                <a:gd name="T20" fmla="*/ 0 w 14"/>
                <a:gd name="T21" fmla="*/ 4 h 10"/>
                <a:gd name="T22" fmla="*/ 6 w 14"/>
                <a:gd name="T23" fmla="*/ 2 h 10"/>
                <a:gd name="T24" fmla="*/ 10 w 14"/>
                <a:gd name="T25" fmla="*/ 0 h 10"/>
                <a:gd name="T26" fmla="*/ 14 w 14"/>
                <a:gd name="T27" fmla="*/ 2 h 10"/>
                <a:gd name="T28" fmla="*/ 14 w 14"/>
                <a:gd name="T2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0">
                  <a:moveTo>
                    <a:pt x="14" y="2"/>
                  </a:moveTo>
                  <a:lnTo>
                    <a:pt x="14" y="2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4" y="2"/>
                  </a:lnTo>
                  <a:lnTo>
                    <a:pt x="14" y="2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209">
              <a:extLst>
                <a:ext uri="{FF2B5EF4-FFF2-40B4-BE49-F238E27FC236}">
                  <a16:creationId xmlns:a16="http://schemas.microsoft.com/office/drawing/2014/main" id="{94AA56D5-8469-450D-BBA5-ED5946900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57538" y="430212"/>
              <a:ext cx="22225" cy="15875"/>
            </a:xfrm>
            <a:custGeom>
              <a:avLst/>
              <a:gdLst>
                <a:gd name="T0" fmla="*/ 14 w 14"/>
                <a:gd name="T1" fmla="*/ 6 h 10"/>
                <a:gd name="T2" fmla="*/ 14 w 14"/>
                <a:gd name="T3" fmla="*/ 6 h 10"/>
                <a:gd name="T4" fmla="*/ 14 w 14"/>
                <a:gd name="T5" fmla="*/ 8 h 10"/>
                <a:gd name="T6" fmla="*/ 12 w 14"/>
                <a:gd name="T7" fmla="*/ 10 h 10"/>
                <a:gd name="T8" fmla="*/ 6 w 14"/>
                <a:gd name="T9" fmla="*/ 8 h 10"/>
                <a:gd name="T10" fmla="*/ 2 w 14"/>
                <a:gd name="T11" fmla="*/ 6 h 10"/>
                <a:gd name="T12" fmla="*/ 0 w 14"/>
                <a:gd name="T13" fmla="*/ 2 h 10"/>
                <a:gd name="T14" fmla="*/ 0 w 14"/>
                <a:gd name="T15" fmla="*/ 2 h 10"/>
                <a:gd name="T16" fmla="*/ 2 w 14"/>
                <a:gd name="T17" fmla="*/ 0 h 10"/>
                <a:gd name="T18" fmla="*/ 4 w 14"/>
                <a:gd name="T19" fmla="*/ 0 h 10"/>
                <a:gd name="T20" fmla="*/ 12 w 14"/>
                <a:gd name="T21" fmla="*/ 2 h 10"/>
                <a:gd name="T22" fmla="*/ 12 w 14"/>
                <a:gd name="T23" fmla="*/ 2 h 10"/>
                <a:gd name="T24" fmla="*/ 14 w 14"/>
                <a:gd name="T25" fmla="*/ 6 h 10"/>
                <a:gd name="T26" fmla="*/ 14 w 14"/>
                <a:gd name="T2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10">
                  <a:moveTo>
                    <a:pt x="14" y="6"/>
                  </a:moveTo>
                  <a:lnTo>
                    <a:pt x="14" y="6"/>
                  </a:lnTo>
                  <a:lnTo>
                    <a:pt x="14" y="8"/>
                  </a:lnTo>
                  <a:lnTo>
                    <a:pt x="12" y="10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1" name="Freeform 1210">
              <a:extLst>
                <a:ext uri="{FF2B5EF4-FFF2-40B4-BE49-F238E27FC236}">
                  <a16:creationId xmlns:a16="http://schemas.microsoft.com/office/drawing/2014/main" id="{EDE20435-0D47-4CFC-A067-3F8CFC802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9288" y="442912"/>
              <a:ext cx="22225" cy="12700"/>
            </a:xfrm>
            <a:custGeom>
              <a:avLst/>
              <a:gdLst>
                <a:gd name="T0" fmla="*/ 0 w 14"/>
                <a:gd name="T1" fmla="*/ 4 h 8"/>
                <a:gd name="T2" fmla="*/ 0 w 14"/>
                <a:gd name="T3" fmla="*/ 4 h 8"/>
                <a:gd name="T4" fmla="*/ 2 w 14"/>
                <a:gd name="T5" fmla="*/ 0 h 8"/>
                <a:gd name="T6" fmla="*/ 4 w 14"/>
                <a:gd name="T7" fmla="*/ 0 h 8"/>
                <a:gd name="T8" fmla="*/ 10 w 14"/>
                <a:gd name="T9" fmla="*/ 0 h 8"/>
                <a:gd name="T10" fmla="*/ 14 w 14"/>
                <a:gd name="T11" fmla="*/ 6 h 8"/>
                <a:gd name="T12" fmla="*/ 14 w 14"/>
                <a:gd name="T13" fmla="*/ 8 h 8"/>
                <a:gd name="T14" fmla="*/ 10 w 14"/>
                <a:gd name="T15" fmla="*/ 8 h 8"/>
                <a:gd name="T16" fmla="*/ 10 w 14"/>
                <a:gd name="T17" fmla="*/ 8 h 8"/>
                <a:gd name="T18" fmla="*/ 8 w 14"/>
                <a:gd name="T19" fmla="*/ 8 h 8"/>
                <a:gd name="T20" fmla="*/ 4 w 14"/>
                <a:gd name="T21" fmla="*/ 8 h 8"/>
                <a:gd name="T22" fmla="*/ 0 w 14"/>
                <a:gd name="T23" fmla="*/ 4 h 8"/>
                <a:gd name="T24" fmla="*/ 0 w 14"/>
                <a:gd name="T2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8">
                  <a:moveTo>
                    <a:pt x="0" y="4"/>
                  </a:move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 algn="ctr">
              <a:solidFill>
                <a:srgbClr val="20BD67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7328F49-41C0-42B7-937A-68D9CBB31755}"/>
              </a:ext>
            </a:extLst>
          </p:cNvPr>
          <p:cNvGrpSpPr/>
          <p:nvPr/>
        </p:nvGrpSpPr>
        <p:grpSpPr>
          <a:xfrm>
            <a:off x="1284207" y="1550095"/>
            <a:ext cx="626869" cy="558945"/>
            <a:chOff x="-987294" y="1482434"/>
            <a:chExt cx="534520" cy="476603"/>
          </a:xfrm>
          <a:solidFill>
            <a:schemeClr val="accent1"/>
          </a:solidFill>
        </p:grpSpPr>
        <p:sp>
          <p:nvSpPr>
            <p:cNvPr id="30" name="Freeform 127">
              <a:extLst>
                <a:ext uri="{FF2B5EF4-FFF2-40B4-BE49-F238E27FC236}">
                  <a16:creationId xmlns:a16="http://schemas.microsoft.com/office/drawing/2014/main" id="{7998CA69-C16F-43EE-A6AD-0B9B06226C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87294" y="1482434"/>
              <a:ext cx="534520" cy="476603"/>
            </a:xfrm>
            <a:custGeom>
              <a:avLst/>
              <a:gdLst>
                <a:gd name="T0" fmla="*/ 326 w 443"/>
                <a:gd name="T1" fmla="*/ 51 h 395"/>
                <a:gd name="T2" fmla="*/ 406 w 443"/>
                <a:gd name="T3" fmla="*/ 47 h 395"/>
                <a:gd name="T4" fmla="*/ 437 w 443"/>
                <a:gd name="T5" fmla="*/ 83 h 395"/>
                <a:gd name="T6" fmla="*/ 431 w 443"/>
                <a:gd name="T7" fmla="*/ 361 h 395"/>
                <a:gd name="T8" fmla="*/ 287 w 443"/>
                <a:gd name="T9" fmla="*/ 389 h 395"/>
                <a:gd name="T10" fmla="*/ 157 w 443"/>
                <a:gd name="T11" fmla="*/ 389 h 395"/>
                <a:gd name="T12" fmla="*/ 55 w 443"/>
                <a:gd name="T13" fmla="*/ 379 h 395"/>
                <a:gd name="T14" fmla="*/ 1 w 443"/>
                <a:gd name="T15" fmla="*/ 181 h 395"/>
                <a:gd name="T16" fmla="*/ 40 w 443"/>
                <a:gd name="T17" fmla="*/ 69 h 395"/>
                <a:gd name="T18" fmla="*/ 84 w 443"/>
                <a:gd name="T19" fmla="*/ 42 h 395"/>
                <a:gd name="T20" fmla="*/ 99 w 443"/>
                <a:gd name="T21" fmla="*/ 69 h 395"/>
                <a:gd name="T22" fmla="*/ 125 w 443"/>
                <a:gd name="T23" fmla="*/ 47 h 395"/>
                <a:gd name="T24" fmla="*/ 172 w 443"/>
                <a:gd name="T25" fmla="*/ 2 h 395"/>
                <a:gd name="T26" fmla="*/ 156 w 443"/>
                <a:gd name="T27" fmla="*/ 50 h 395"/>
                <a:gd name="T28" fmla="*/ 250 w 443"/>
                <a:gd name="T29" fmla="*/ 66 h 395"/>
                <a:gd name="T30" fmla="*/ 293 w 443"/>
                <a:gd name="T31" fmla="*/ 32 h 395"/>
                <a:gd name="T32" fmla="*/ 183 w 443"/>
                <a:gd name="T33" fmla="*/ 15 h 395"/>
                <a:gd name="T34" fmla="*/ 56 w 443"/>
                <a:gd name="T35" fmla="*/ 69 h 395"/>
                <a:gd name="T36" fmla="*/ 70 w 443"/>
                <a:gd name="T37" fmla="*/ 51 h 395"/>
                <a:gd name="T38" fmla="*/ 56 w 443"/>
                <a:gd name="T39" fmla="*/ 69 h 395"/>
                <a:gd name="T40" fmla="*/ 175 w 443"/>
                <a:gd name="T41" fmla="*/ 85 h 395"/>
                <a:gd name="T42" fmla="*/ 131 w 443"/>
                <a:gd name="T43" fmla="*/ 77 h 395"/>
                <a:gd name="T44" fmla="*/ 107 w 443"/>
                <a:gd name="T45" fmla="*/ 359 h 395"/>
                <a:gd name="T46" fmla="*/ 220 w 443"/>
                <a:gd name="T47" fmla="*/ 375 h 395"/>
                <a:gd name="T48" fmla="*/ 416 w 443"/>
                <a:gd name="T49" fmla="*/ 286 h 395"/>
                <a:gd name="T50" fmla="*/ 421 w 443"/>
                <a:gd name="T51" fmla="*/ 79 h 395"/>
                <a:gd name="T52" fmla="*/ 378 w 443"/>
                <a:gd name="T53" fmla="*/ 85 h 395"/>
                <a:gd name="T54" fmla="*/ 307 w 443"/>
                <a:gd name="T55" fmla="*/ 58 h 395"/>
                <a:gd name="T56" fmla="*/ 278 w 443"/>
                <a:gd name="T57" fmla="*/ 85 h 395"/>
                <a:gd name="T58" fmla="*/ 392 w 443"/>
                <a:gd name="T59" fmla="*/ 63 h 395"/>
                <a:gd name="T60" fmla="*/ 341 w 443"/>
                <a:gd name="T61" fmla="*/ 58 h 395"/>
                <a:gd name="T62" fmla="*/ 116 w 443"/>
                <a:gd name="T63" fmla="*/ 58 h 395"/>
                <a:gd name="T64" fmla="*/ 118 w 443"/>
                <a:gd name="T65" fmla="*/ 70 h 395"/>
                <a:gd name="T66" fmla="*/ 43 w 443"/>
                <a:gd name="T67" fmla="*/ 121 h 395"/>
                <a:gd name="T68" fmla="*/ 90 w 443"/>
                <a:gd name="T69" fmla="*/ 102 h 395"/>
                <a:gd name="T70" fmla="*/ 27 w 443"/>
                <a:gd name="T71" fmla="*/ 131 h 395"/>
                <a:gd name="T72" fmla="*/ 19 w 443"/>
                <a:gd name="T73" fmla="*/ 359 h 395"/>
                <a:gd name="T74" fmla="*/ 26 w 443"/>
                <a:gd name="T75" fmla="*/ 353 h 395"/>
                <a:gd name="T76" fmla="*/ 91 w 443"/>
                <a:gd name="T77" fmla="*/ 345 h 395"/>
                <a:gd name="T78" fmla="*/ 29 w 443"/>
                <a:gd name="T79" fmla="*/ 338 h 395"/>
                <a:gd name="T80" fmla="*/ 71 w 443"/>
                <a:gd name="T81" fmla="*/ 325 h 395"/>
                <a:gd name="T82" fmla="*/ 70 w 443"/>
                <a:gd name="T83" fmla="*/ 316 h 395"/>
                <a:gd name="T84" fmla="*/ 39 w 443"/>
                <a:gd name="T85" fmla="*/ 306 h 395"/>
                <a:gd name="T86" fmla="*/ 96 w 443"/>
                <a:gd name="T87" fmla="*/ 294 h 395"/>
                <a:gd name="T88" fmla="*/ 32 w 443"/>
                <a:gd name="T89" fmla="*/ 278 h 395"/>
                <a:gd name="T90" fmla="*/ 96 w 443"/>
                <a:gd name="T91" fmla="*/ 273 h 395"/>
                <a:gd name="T92" fmla="*/ 38 w 443"/>
                <a:gd name="T93" fmla="*/ 261 h 395"/>
                <a:gd name="T94" fmla="*/ 96 w 443"/>
                <a:gd name="T95" fmla="*/ 252 h 395"/>
                <a:gd name="T96" fmla="*/ 36 w 443"/>
                <a:gd name="T97" fmla="*/ 239 h 395"/>
                <a:gd name="T98" fmla="*/ 84 w 443"/>
                <a:gd name="T99" fmla="*/ 230 h 395"/>
                <a:gd name="T100" fmla="*/ 68 w 443"/>
                <a:gd name="T101" fmla="*/ 219 h 395"/>
                <a:gd name="T102" fmla="*/ 52 w 443"/>
                <a:gd name="T103" fmla="*/ 204 h 395"/>
                <a:gd name="T104" fmla="*/ 86 w 443"/>
                <a:gd name="T105" fmla="*/ 198 h 395"/>
                <a:gd name="T106" fmla="*/ 74 w 443"/>
                <a:gd name="T107" fmla="*/ 182 h 395"/>
                <a:gd name="T108" fmla="*/ 93 w 443"/>
                <a:gd name="T109" fmla="*/ 172 h 395"/>
                <a:gd name="T110" fmla="*/ 74 w 443"/>
                <a:gd name="T111" fmla="*/ 157 h 395"/>
                <a:gd name="T112" fmla="*/ 83 w 443"/>
                <a:gd name="T113" fmla="*/ 146 h 395"/>
                <a:gd name="T114" fmla="*/ 96 w 443"/>
                <a:gd name="T115" fmla="*/ 133 h 395"/>
                <a:gd name="T116" fmla="*/ 27 w 443"/>
                <a:gd name="T117" fmla="*/ 8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3" h="395">
                  <a:moveTo>
                    <a:pt x="291" y="0"/>
                  </a:moveTo>
                  <a:lnTo>
                    <a:pt x="291" y="0"/>
                  </a:lnTo>
                  <a:lnTo>
                    <a:pt x="300" y="15"/>
                  </a:lnTo>
                  <a:lnTo>
                    <a:pt x="309" y="29"/>
                  </a:lnTo>
                  <a:lnTo>
                    <a:pt x="316" y="44"/>
                  </a:lnTo>
                  <a:lnTo>
                    <a:pt x="322" y="60"/>
                  </a:lnTo>
                  <a:lnTo>
                    <a:pt x="322" y="60"/>
                  </a:lnTo>
                  <a:lnTo>
                    <a:pt x="323" y="55"/>
                  </a:lnTo>
                  <a:lnTo>
                    <a:pt x="326" y="51"/>
                  </a:lnTo>
                  <a:lnTo>
                    <a:pt x="329" y="48"/>
                  </a:lnTo>
                  <a:lnTo>
                    <a:pt x="333" y="45"/>
                  </a:lnTo>
                  <a:lnTo>
                    <a:pt x="344" y="41"/>
                  </a:lnTo>
                  <a:lnTo>
                    <a:pt x="355" y="39"/>
                  </a:lnTo>
                  <a:lnTo>
                    <a:pt x="368" y="39"/>
                  </a:lnTo>
                  <a:lnTo>
                    <a:pt x="381" y="41"/>
                  </a:lnTo>
                  <a:lnTo>
                    <a:pt x="403" y="42"/>
                  </a:lnTo>
                  <a:lnTo>
                    <a:pt x="403" y="42"/>
                  </a:lnTo>
                  <a:lnTo>
                    <a:pt x="406" y="47"/>
                  </a:lnTo>
                  <a:lnTo>
                    <a:pt x="406" y="51"/>
                  </a:lnTo>
                  <a:lnTo>
                    <a:pt x="406" y="63"/>
                  </a:lnTo>
                  <a:lnTo>
                    <a:pt x="406" y="63"/>
                  </a:lnTo>
                  <a:lnTo>
                    <a:pt x="415" y="63"/>
                  </a:lnTo>
                  <a:lnTo>
                    <a:pt x="421" y="64"/>
                  </a:lnTo>
                  <a:lnTo>
                    <a:pt x="425" y="66"/>
                  </a:lnTo>
                  <a:lnTo>
                    <a:pt x="431" y="69"/>
                  </a:lnTo>
                  <a:lnTo>
                    <a:pt x="431" y="69"/>
                  </a:lnTo>
                  <a:lnTo>
                    <a:pt x="437" y="83"/>
                  </a:lnTo>
                  <a:lnTo>
                    <a:pt x="440" y="99"/>
                  </a:lnTo>
                  <a:lnTo>
                    <a:pt x="441" y="117"/>
                  </a:lnTo>
                  <a:lnTo>
                    <a:pt x="443" y="134"/>
                  </a:lnTo>
                  <a:lnTo>
                    <a:pt x="443" y="171"/>
                  </a:lnTo>
                  <a:lnTo>
                    <a:pt x="441" y="207"/>
                  </a:lnTo>
                  <a:lnTo>
                    <a:pt x="434" y="284"/>
                  </a:lnTo>
                  <a:lnTo>
                    <a:pt x="431" y="324"/>
                  </a:lnTo>
                  <a:lnTo>
                    <a:pt x="431" y="361"/>
                  </a:lnTo>
                  <a:lnTo>
                    <a:pt x="431" y="361"/>
                  </a:lnTo>
                  <a:lnTo>
                    <a:pt x="427" y="367"/>
                  </a:lnTo>
                  <a:lnTo>
                    <a:pt x="421" y="372"/>
                  </a:lnTo>
                  <a:lnTo>
                    <a:pt x="409" y="378"/>
                  </a:lnTo>
                  <a:lnTo>
                    <a:pt x="395" y="382"/>
                  </a:lnTo>
                  <a:lnTo>
                    <a:pt x="378" y="385"/>
                  </a:lnTo>
                  <a:lnTo>
                    <a:pt x="342" y="385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287" y="389"/>
                  </a:lnTo>
                  <a:lnTo>
                    <a:pt x="272" y="392"/>
                  </a:lnTo>
                  <a:lnTo>
                    <a:pt x="256" y="394"/>
                  </a:lnTo>
                  <a:lnTo>
                    <a:pt x="242" y="395"/>
                  </a:lnTo>
                  <a:lnTo>
                    <a:pt x="242" y="395"/>
                  </a:lnTo>
                  <a:lnTo>
                    <a:pt x="225" y="395"/>
                  </a:lnTo>
                  <a:lnTo>
                    <a:pt x="208" y="394"/>
                  </a:lnTo>
                  <a:lnTo>
                    <a:pt x="175" y="389"/>
                  </a:lnTo>
                  <a:lnTo>
                    <a:pt x="175" y="389"/>
                  </a:lnTo>
                  <a:lnTo>
                    <a:pt x="157" y="389"/>
                  </a:lnTo>
                  <a:lnTo>
                    <a:pt x="141" y="391"/>
                  </a:lnTo>
                  <a:lnTo>
                    <a:pt x="125" y="391"/>
                  </a:lnTo>
                  <a:lnTo>
                    <a:pt x="110" y="389"/>
                  </a:lnTo>
                  <a:lnTo>
                    <a:pt x="110" y="389"/>
                  </a:lnTo>
                  <a:lnTo>
                    <a:pt x="102" y="388"/>
                  </a:lnTo>
                  <a:lnTo>
                    <a:pt x="93" y="386"/>
                  </a:lnTo>
                  <a:lnTo>
                    <a:pt x="75" y="382"/>
                  </a:lnTo>
                  <a:lnTo>
                    <a:pt x="75" y="382"/>
                  </a:lnTo>
                  <a:lnTo>
                    <a:pt x="55" y="379"/>
                  </a:lnTo>
                  <a:lnTo>
                    <a:pt x="35" y="378"/>
                  </a:lnTo>
                  <a:lnTo>
                    <a:pt x="24" y="376"/>
                  </a:lnTo>
                  <a:lnTo>
                    <a:pt x="16" y="375"/>
                  </a:lnTo>
                  <a:lnTo>
                    <a:pt x="8" y="370"/>
                  </a:lnTo>
                  <a:lnTo>
                    <a:pt x="1" y="364"/>
                  </a:lnTo>
                  <a:lnTo>
                    <a:pt x="1" y="364"/>
                  </a:lnTo>
                  <a:lnTo>
                    <a:pt x="1" y="292"/>
                  </a:lnTo>
                  <a:lnTo>
                    <a:pt x="0" y="217"/>
                  </a:lnTo>
                  <a:lnTo>
                    <a:pt x="1" y="181"/>
                  </a:lnTo>
                  <a:lnTo>
                    <a:pt x="3" y="146"/>
                  </a:lnTo>
                  <a:lnTo>
                    <a:pt x="4" y="111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14" y="74"/>
                  </a:lnTo>
                  <a:lnTo>
                    <a:pt x="22" y="72"/>
                  </a:lnTo>
                  <a:lnTo>
                    <a:pt x="3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3" y="51"/>
                  </a:lnTo>
                  <a:lnTo>
                    <a:pt x="46" y="44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70" y="38"/>
                  </a:lnTo>
                  <a:lnTo>
                    <a:pt x="78" y="39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6" y="47"/>
                  </a:lnTo>
                  <a:lnTo>
                    <a:pt x="86" y="51"/>
                  </a:lnTo>
                  <a:lnTo>
                    <a:pt x="86" y="60"/>
                  </a:lnTo>
                  <a:lnTo>
                    <a:pt x="86" y="64"/>
                  </a:lnTo>
                  <a:lnTo>
                    <a:pt x="87" y="67"/>
                  </a:lnTo>
                  <a:lnTo>
                    <a:pt x="90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9" y="69"/>
                  </a:lnTo>
                  <a:lnTo>
                    <a:pt x="102" y="66"/>
                  </a:lnTo>
                  <a:lnTo>
                    <a:pt x="102" y="63"/>
                  </a:lnTo>
                  <a:lnTo>
                    <a:pt x="102" y="60"/>
                  </a:lnTo>
                  <a:lnTo>
                    <a:pt x="100" y="53"/>
                  </a:lnTo>
                  <a:lnTo>
                    <a:pt x="102" y="48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18" y="45"/>
                  </a:lnTo>
                  <a:lnTo>
                    <a:pt x="125" y="47"/>
                  </a:lnTo>
                  <a:lnTo>
                    <a:pt x="129" y="48"/>
                  </a:lnTo>
                  <a:lnTo>
                    <a:pt x="129" y="48"/>
                  </a:lnTo>
                  <a:lnTo>
                    <a:pt x="135" y="37"/>
                  </a:lnTo>
                  <a:lnTo>
                    <a:pt x="141" y="25"/>
                  </a:lnTo>
                  <a:lnTo>
                    <a:pt x="147" y="13"/>
                  </a:lnTo>
                  <a:lnTo>
                    <a:pt x="150" y="9"/>
                  </a:lnTo>
                  <a:lnTo>
                    <a:pt x="154" y="3"/>
                  </a:lnTo>
                  <a:lnTo>
                    <a:pt x="154" y="3"/>
                  </a:lnTo>
                  <a:lnTo>
                    <a:pt x="172" y="2"/>
                  </a:lnTo>
                  <a:lnTo>
                    <a:pt x="188" y="0"/>
                  </a:lnTo>
                  <a:lnTo>
                    <a:pt x="223" y="2"/>
                  </a:lnTo>
                  <a:lnTo>
                    <a:pt x="258" y="3"/>
                  </a:lnTo>
                  <a:lnTo>
                    <a:pt x="275" y="3"/>
                  </a:lnTo>
                  <a:lnTo>
                    <a:pt x="291" y="0"/>
                  </a:lnTo>
                  <a:lnTo>
                    <a:pt x="291" y="0"/>
                  </a:lnTo>
                  <a:close/>
                  <a:moveTo>
                    <a:pt x="148" y="39"/>
                  </a:moveTo>
                  <a:lnTo>
                    <a:pt x="148" y="39"/>
                  </a:lnTo>
                  <a:lnTo>
                    <a:pt x="156" y="50"/>
                  </a:lnTo>
                  <a:lnTo>
                    <a:pt x="163" y="58"/>
                  </a:lnTo>
                  <a:lnTo>
                    <a:pt x="172" y="66"/>
                  </a:lnTo>
                  <a:lnTo>
                    <a:pt x="176" y="69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92" y="72"/>
                  </a:lnTo>
                  <a:lnTo>
                    <a:pt x="202" y="72"/>
                  </a:lnTo>
                  <a:lnTo>
                    <a:pt x="225" y="69"/>
                  </a:lnTo>
                  <a:lnTo>
                    <a:pt x="250" y="66"/>
                  </a:lnTo>
                  <a:lnTo>
                    <a:pt x="263" y="66"/>
                  </a:lnTo>
                  <a:lnTo>
                    <a:pt x="275" y="69"/>
                  </a:lnTo>
                  <a:lnTo>
                    <a:pt x="275" y="69"/>
                  </a:lnTo>
                  <a:lnTo>
                    <a:pt x="279" y="60"/>
                  </a:lnTo>
                  <a:lnTo>
                    <a:pt x="285" y="53"/>
                  </a:lnTo>
                  <a:lnTo>
                    <a:pt x="293" y="45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3" y="32"/>
                  </a:lnTo>
                  <a:lnTo>
                    <a:pt x="290" y="25"/>
                  </a:lnTo>
                  <a:lnTo>
                    <a:pt x="285" y="19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72" y="18"/>
                  </a:lnTo>
                  <a:lnTo>
                    <a:pt x="263" y="18"/>
                  </a:lnTo>
                  <a:lnTo>
                    <a:pt x="243" y="19"/>
                  </a:lnTo>
                  <a:lnTo>
                    <a:pt x="202" y="15"/>
                  </a:lnTo>
                  <a:lnTo>
                    <a:pt x="183" y="15"/>
                  </a:lnTo>
                  <a:lnTo>
                    <a:pt x="175" y="16"/>
                  </a:lnTo>
                  <a:lnTo>
                    <a:pt x="167" y="18"/>
                  </a:lnTo>
                  <a:lnTo>
                    <a:pt x="161" y="21"/>
                  </a:lnTo>
                  <a:lnTo>
                    <a:pt x="156" y="25"/>
                  </a:lnTo>
                  <a:lnTo>
                    <a:pt x="151" y="32"/>
                  </a:lnTo>
                  <a:lnTo>
                    <a:pt x="148" y="39"/>
                  </a:lnTo>
                  <a:lnTo>
                    <a:pt x="148" y="39"/>
                  </a:lnTo>
                  <a:close/>
                  <a:moveTo>
                    <a:pt x="56" y="69"/>
                  </a:moveTo>
                  <a:lnTo>
                    <a:pt x="56" y="69"/>
                  </a:lnTo>
                  <a:lnTo>
                    <a:pt x="56" y="66"/>
                  </a:lnTo>
                  <a:lnTo>
                    <a:pt x="58" y="66"/>
                  </a:lnTo>
                  <a:lnTo>
                    <a:pt x="64" y="64"/>
                  </a:lnTo>
                  <a:lnTo>
                    <a:pt x="68" y="66"/>
                  </a:lnTo>
                  <a:lnTo>
                    <a:pt x="74" y="66"/>
                  </a:lnTo>
                  <a:lnTo>
                    <a:pt x="74" y="66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51"/>
                  </a:lnTo>
                  <a:lnTo>
                    <a:pt x="65" y="50"/>
                  </a:lnTo>
                  <a:lnTo>
                    <a:pt x="62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5" y="53"/>
                  </a:lnTo>
                  <a:lnTo>
                    <a:pt x="54" y="58"/>
                  </a:lnTo>
                  <a:lnTo>
                    <a:pt x="54" y="64"/>
                  </a:lnTo>
                  <a:lnTo>
                    <a:pt x="55" y="66"/>
                  </a:lnTo>
                  <a:lnTo>
                    <a:pt x="56" y="69"/>
                  </a:lnTo>
                  <a:lnTo>
                    <a:pt x="56" y="69"/>
                  </a:lnTo>
                  <a:close/>
                  <a:moveTo>
                    <a:pt x="278" y="85"/>
                  </a:moveTo>
                  <a:lnTo>
                    <a:pt x="278" y="85"/>
                  </a:lnTo>
                  <a:lnTo>
                    <a:pt x="269" y="86"/>
                  </a:lnTo>
                  <a:lnTo>
                    <a:pt x="258" y="88"/>
                  </a:lnTo>
                  <a:lnTo>
                    <a:pt x="225" y="88"/>
                  </a:lnTo>
                  <a:lnTo>
                    <a:pt x="193" y="86"/>
                  </a:lnTo>
                  <a:lnTo>
                    <a:pt x="175" y="85"/>
                  </a:lnTo>
                  <a:lnTo>
                    <a:pt x="175" y="85"/>
                  </a:lnTo>
                  <a:lnTo>
                    <a:pt x="167" y="82"/>
                  </a:lnTo>
                  <a:lnTo>
                    <a:pt x="163" y="79"/>
                  </a:lnTo>
                  <a:lnTo>
                    <a:pt x="156" y="70"/>
                  </a:lnTo>
                  <a:lnTo>
                    <a:pt x="150" y="63"/>
                  </a:lnTo>
                  <a:lnTo>
                    <a:pt x="147" y="60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38" y="69"/>
                  </a:lnTo>
                  <a:lnTo>
                    <a:pt x="131" y="77"/>
                  </a:lnTo>
                  <a:lnTo>
                    <a:pt x="126" y="82"/>
                  </a:lnTo>
                  <a:lnTo>
                    <a:pt x="122" y="85"/>
                  </a:lnTo>
                  <a:lnTo>
                    <a:pt x="115" y="85"/>
                  </a:lnTo>
                  <a:lnTo>
                    <a:pt x="107" y="85"/>
                  </a:lnTo>
                  <a:lnTo>
                    <a:pt x="107" y="85"/>
                  </a:lnTo>
                  <a:lnTo>
                    <a:pt x="107" y="153"/>
                  </a:lnTo>
                  <a:lnTo>
                    <a:pt x="107" y="222"/>
                  </a:lnTo>
                  <a:lnTo>
                    <a:pt x="106" y="290"/>
                  </a:lnTo>
                  <a:lnTo>
                    <a:pt x="107" y="359"/>
                  </a:lnTo>
                  <a:lnTo>
                    <a:pt x="107" y="359"/>
                  </a:lnTo>
                  <a:lnTo>
                    <a:pt x="105" y="361"/>
                  </a:lnTo>
                  <a:lnTo>
                    <a:pt x="102" y="364"/>
                  </a:lnTo>
                  <a:lnTo>
                    <a:pt x="97" y="367"/>
                  </a:lnTo>
                  <a:lnTo>
                    <a:pt x="96" y="370"/>
                  </a:lnTo>
                  <a:lnTo>
                    <a:pt x="96" y="370"/>
                  </a:lnTo>
                  <a:lnTo>
                    <a:pt x="137" y="373"/>
                  </a:lnTo>
                  <a:lnTo>
                    <a:pt x="179" y="375"/>
                  </a:lnTo>
                  <a:lnTo>
                    <a:pt x="220" y="375"/>
                  </a:lnTo>
                  <a:lnTo>
                    <a:pt x="260" y="373"/>
                  </a:lnTo>
                  <a:lnTo>
                    <a:pt x="301" y="372"/>
                  </a:lnTo>
                  <a:lnTo>
                    <a:pt x="341" y="369"/>
                  </a:lnTo>
                  <a:lnTo>
                    <a:pt x="380" y="364"/>
                  </a:lnTo>
                  <a:lnTo>
                    <a:pt x="418" y="359"/>
                  </a:lnTo>
                  <a:lnTo>
                    <a:pt x="418" y="359"/>
                  </a:lnTo>
                  <a:lnTo>
                    <a:pt x="416" y="340"/>
                  </a:lnTo>
                  <a:lnTo>
                    <a:pt x="415" y="322"/>
                  </a:lnTo>
                  <a:lnTo>
                    <a:pt x="416" y="286"/>
                  </a:lnTo>
                  <a:lnTo>
                    <a:pt x="419" y="249"/>
                  </a:lnTo>
                  <a:lnTo>
                    <a:pt x="422" y="214"/>
                  </a:lnTo>
                  <a:lnTo>
                    <a:pt x="427" y="179"/>
                  </a:lnTo>
                  <a:lnTo>
                    <a:pt x="428" y="146"/>
                  </a:lnTo>
                  <a:lnTo>
                    <a:pt x="428" y="128"/>
                  </a:lnTo>
                  <a:lnTo>
                    <a:pt x="427" y="112"/>
                  </a:lnTo>
                  <a:lnTo>
                    <a:pt x="424" y="95"/>
                  </a:lnTo>
                  <a:lnTo>
                    <a:pt x="421" y="79"/>
                  </a:lnTo>
                  <a:lnTo>
                    <a:pt x="421" y="79"/>
                  </a:lnTo>
                  <a:lnTo>
                    <a:pt x="418" y="77"/>
                  </a:lnTo>
                  <a:lnTo>
                    <a:pt x="415" y="77"/>
                  </a:lnTo>
                  <a:lnTo>
                    <a:pt x="412" y="82"/>
                  </a:lnTo>
                  <a:lnTo>
                    <a:pt x="411" y="85"/>
                  </a:lnTo>
                  <a:lnTo>
                    <a:pt x="409" y="88"/>
                  </a:lnTo>
                  <a:lnTo>
                    <a:pt x="405" y="88"/>
                  </a:lnTo>
                  <a:lnTo>
                    <a:pt x="400" y="88"/>
                  </a:lnTo>
                  <a:lnTo>
                    <a:pt x="400" y="88"/>
                  </a:lnTo>
                  <a:lnTo>
                    <a:pt x="378" y="85"/>
                  </a:lnTo>
                  <a:lnTo>
                    <a:pt x="357" y="85"/>
                  </a:lnTo>
                  <a:lnTo>
                    <a:pt x="336" y="83"/>
                  </a:lnTo>
                  <a:lnTo>
                    <a:pt x="327" y="82"/>
                  </a:lnTo>
                  <a:lnTo>
                    <a:pt x="320" y="79"/>
                  </a:lnTo>
                  <a:lnTo>
                    <a:pt x="320" y="79"/>
                  </a:lnTo>
                  <a:lnTo>
                    <a:pt x="316" y="77"/>
                  </a:lnTo>
                  <a:lnTo>
                    <a:pt x="313" y="74"/>
                  </a:lnTo>
                  <a:lnTo>
                    <a:pt x="310" y="66"/>
                  </a:lnTo>
                  <a:lnTo>
                    <a:pt x="307" y="58"/>
                  </a:lnTo>
                  <a:lnTo>
                    <a:pt x="304" y="55"/>
                  </a:lnTo>
                  <a:lnTo>
                    <a:pt x="300" y="54"/>
                  </a:lnTo>
                  <a:lnTo>
                    <a:pt x="300" y="54"/>
                  </a:lnTo>
                  <a:lnTo>
                    <a:pt x="295" y="61"/>
                  </a:lnTo>
                  <a:lnTo>
                    <a:pt x="293" y="70"/>
                  </a:lnTo>
                  <a:lnTo>
                    <a:pt x="290" y="74"/>
                  </a:lnTo>
                  <a:lnTo>
                    <a:pt x="287" y="79"/>
                  </a:lnTo>
                  <a:lnTo>
                    <a:pt x="282" y="82"/>
                  </a:lnTo>
                  <a:lnTo>
                    <a:pt x="278" y="85"/>
                  </a:lnTo>
                  <a:lnTo>
                    <a:pt x="278" y="85"/>
                  </a:lnTo>
                  <a:close/>
                  <a:moveTo>
                    <a:pt x="339" y="70"/>
                  </a:moveTo>
                  <a:lnTo>
                    <a:pt x="339" y="70"/>
                  </a:lnTo>
                  <a:lnTo>
                    <a:pt x="345" y="70"/>
                  </a:lnTo>
                  <a:lnTo>
                    <a:pt x="352" y="69"/>
                  </a:lnTo>
                  <a:lnTo>
                    <a:pt x="368" y="69"/>
                  </a:lnTo>
                  <a:lnTo>
                    <a:pt x="383" y="67"/>
                  </a:lnTo>
                  <a:lnTo>
                    <a:pt x="387" y="66"/>
                  </a:lnTo>
                  <a:lnTo>
                    <a:pt x="392" y="63"/>
                  </a:lnTo>
                  <a:lnTo>
                    <a:pt x="392" y="63"/>
                  </a:lnTo>
                  <a:lnTo>
                    <a:pt x="392" y="57"/>
                  </a:lnTo>
                  <a:lnTo>
                    <a:pt x="392" y="57"/>
                  </a:lnTo>
                  <a:lnTo>
                    <a:pt x="377" y="54"/>
                  </a:lnTo>
                  <a:lnTo>
                    <a:pt x="368" y="53"/>
                  </a:lnTo>
                  <a:lnTo>
                    <a:pt x="358" y="53"/>
                  </a:lnTo>
                  <a:lnTo>
                    <a:pt x="349" y="54"/>
                  </a:lnTo>
                  <a:lnTo>
                    <a:pt x="342" y="57"/>
                  </a:lnTo>
                  <a:lnTo>
                    <a:pt x="341" y="58"/>
                  </a:lnTo>
                  <a:lnTo>
                    <a:pt x="339" y="61"/>
                  </a:lnTo>
                  <a:lnTo>
                    <a:pt x="338" y="66"/>
                  </a:lnTo>
                  <a:lnTo>
                    <a:pt x="339" y="70"/>
                  </a:lnTo>
                  <a:lnTo>
                    <a:pt x="339" y="70"/>
                  </a:lnTo>
                  <a:close/>
                  <a:moveTo>
                    <a:pt x="118" y="70"/>
                  </a:moveTo>
                  <a:lnTo>
                    <a:pt x="118" y="70"/>
                  </a:lnTo>
                  <a:lnTo>
                    <a:pt x="118" y="66"/>
                  </a:lnTo>
                  <a:lnTo>
                    <a:pt x="118" y="61"/>
                  </a:lnTo>
                  <a:lnTo>
                    <a:pt x="116" y="58"/>
                  </a:lnTo>
                  <a:lnTo>
                    <a:pt x="112" y="57"/>
                  </a:lnTo>
                  <a:lnTo>
                    <a:pt x="112" y="57"/>
                  </a:lnTo>
                  <a:lnTo>
                    <a:pt x="113" y="61"/>
                  </a:lnTo>
                  <a:lnTo>
                    <a:pt x="112" y="67"/>
                  </a:lnTo>
                  <a:lnTo>
                    <a:pt x="112" y="69"/>
                  </a:lnTo>
                  <a:lnTo>
                    <a:pt x="113" y="70"/>
                  </a:lnTo>
                  <a:lnTo>
                    <a:pt x="115" y="72"/>
                  </a:lnTo>
                  <a:lnTo>
                    <a:pt x="118" y="70"/>
                  </a:lnTo>
                  <a:lnTo>
                    <a:pt x="118" y="70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96"/>
                  </a:lnTo>
                  <a:lnTo>
                    <a:pt x="22" y="102"/>
                  </a:lnTo>
                  <a:lnTo>
                    <a:pt x="24" y="108"/>
                  </a:lnTo>
                  <a:lnTo>
                    <a:pt x="29" y="114"/>
                  </a:lnTo>
                  <a:lnTo>
                    <a:pt x="33" y="117"/>
                  </a:lnTo>
                  <a:lnTo>
                    <a:pt x="38" y="120"/>
                  </a:lnTo>
                  <a:lnTo>
                    <a:pt x="43" y="121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55" y="120"/>
                  </a:lnTo>
                  <a:lnTo>
                    <a:pt x="59" y="118"/>
                  </a:lnTo>
                  <a:lnTo>
                    <a:pt x="70" y="111"/>
                  </a:lnTo>
                  <a:lnTo>
                    <a:pt x="80" y="105"/>
                  </a:lnTo>
                  <a:lnTo>
                    <a:pt x="84" y="102"/>
                  </a:lnTo>
                  <a:lnTo>
                    <a:pt x="90" y="102"/>
                  </a:lnTo>
                  <a:lnTo>
                    <a:pt x="90" y="102"/>
                  </a:lnTo>
                  <a:lnTo>
                    <a:pt x="89" y="106"/>
                  </a:lnTo>
                  <a:lnTo>
                    <a:pt x="87" y="112"/>
                  </a:lnTo>
                  <a:lnTo>
                    <a:pt x="84" y="117"/>
                  </a:lnTo>
                  <a:lnTo>
                    <a:pt x="81" y="121"/>
                  </a:lnTo>
                  <a:lnTo>
                    <a:pt x="73" y="128"/>
                  </a:lnTo>
                  <a:lnTo>
                    <a:pt x="61" y="133"/>
                  </a:lnTo>
                  <a:lnTo>
                    <a:pt x="49" y="134"/>
                  </a:lnTo>
                  <a:lnTo>
                    <a:pt x="38" y="134"/>
                  </a:lnTo>
                  <a:lnTo>
                    <a:pt x="27" y="131"/>
                  </a:lnTo>
                  <a:lnTo>
                    <a:pt x="22" y="128"/>
                  </a:lnTo>
                  <a:lnTo>
                    <a:pt x="17" y="124"/>
                  </a:lnTo>
                  <a:lnTo>
                    <a:pt x="17" y="124"/>
                  </a:lnTo>
                  <a:lnTo>
                    <a:pt x="16" y="184"/>
                  </a:lnTo>
                  <a:lnTo>
                    <a:pt x="14" y="241"/>
                  </a:lnTo>
                  <a:lnTo>
                    <a:pt x="14" y="299"/>
                  </a:lnTo>
                  <a:lnTo>
                    <a:pt x="14" y="359"/>
                  </a:lnTo>
                  <a:lnTo>
                    <a:pt x="14" y="359"/>
                  </a:lnTo>
                  <a:lnTo>
                    <a:pt x="19" y="359"/>
                  </a:lnTo>
                  <a:lnTo>
                    <a:pt x="22" y="359"/>
                  </a:lnTo>
                  <a:lnTo>
                    <a:pt x="27" y="360"/>
                  </a:lnTo>
                  <a:lnTo>
                    <a:pt x="33" y="361"/>
                  </a:lnTo>
                  <a:lnTo>
                    <a:pt x="35" y="361"/>
                  </a:lnTo>
                  <a:lnTo>
                    <a:pt x="38" y="359"/>
                  </a:lnTo>
                  <a:lnTo>
                    <a:pt x="38" y="359"/>
                  </a:lnTo>
                  <a:lnTo>
                    <a:pt x="30" y="357"/>
                  </a:lnTo>
                  <a:lnTo>
                    <a:pt x="27" y="356"/>
                  </a:lnTo>
                  <a:lnTo>
                    <a:pt x="26" y="353"/>
                  </a:lnTo>
                  <a:lnTo>
                    <a:pt x="26" y="353"/>
                  </a:lnTo>
                  <a:lnTo>
                    <a:pt x="35" y="353"/>
                  </a:lnTo>
                  <a:lnTo>
                    <a:pt x="45" y="353"/>
                  </a:lnTo>
                  <a:lnTo>
                    <a:pt x="67" y="354"/>
                  </a:lnTo>
                  <a:lnTo>
                    <a:pt x="75" y="354"/>
                  </a:lnTo>
                  <a:lnTo>
                    <a:pt x="84" y="353"/>
                  </a:lnTo>
                  <a:lnTo>
                    <a:pt x="87" y="351"/>
                  </a:lnTo>
                  <a:lnTo>
                    <a:pt x="90" y="348"/>
                  </a:lnTo>
                  <a:lnTo>
                    <a:pt x="91" y="345"/>
                  </a:lnTo>
                  <a:lnTo>
                    <a:pt x="93" y="343"/>
                  </a:lnTo>
                  <a:lnTo>
                    <a:pt x="93" y="343"/>
                  </a:lnTo>
                  <a:lnTo>
                    <a:pt x="86" y="340"/>
                  </a:lnTo>
                  <a:lnTo>
                    <a:pt x="77" y="338"/>
                  </a:lnTo>
                  <a:lnTo>
                    <a:pt x="56" y="340"/>
                  </a:lnTo>
                  <a:lnTo>
                    <a:pt x="48" y="341"/>
                  </a:lnTo>
                  <a:lnTo>
                    <a:pt x="39" y="341"/>
                  </a:lnTo>
                  <a:lnTo>
                    <a:pt x="32" y="340"/>
                  </a:lnTo>
                  <a:lnTo>
                    <a:pt x="29" y="338"/>
                  </a:lnTo>
                  <a:lnTo>
                    <a:pt x="26" y="337"/>
                  </a:lnTo>
                  <a:lnTo>
                    <a:pt x="26" y="337"/>
                  </a:lnTo>
                  <a:lnTo>
                    <a:pt x="29" y="334"/>
                  </a:lnTo>
                  <a:lnTo>
                    <a:pt x="32" y="331"/>
                  </a:lnTo>
                  <a:lnTo>
                    <a:pt x="40" y="328"/>
                  </a:lnTo>
                  <a:lnTo>
                    <a:pt x="51" y="327"/>
                  </a:lnTo>
                  <a:lnTo>
                    <a:pt x="62" y="325"/>
                  </a:lnTo>
                  <a:lnTo>
                    <a:pt x="62" y="325"/>
                  </a:lnTo>
                  <a:lnTo>
                    <a:pt x="71" y="325"/>
                  </a:lnTo>
                  <a:lnTo>
                    <a:pt x="81" y="327"/>
                  </a:lnTo>
                  <a:lnTo>
                    <a:pt x="89" y="327"/>
                  </a:lnTo>
                  <a:lnTo>
                    <a:pt x="91" y="325"/>
                  </a:lnTo>
                  <a:lnTo>
                    <a:pt x="93" y="322"/>
                  </a:lnTo>
                  <a:lnTo>
                    <a:pt x="93" y="322"/>
                  </a:lnTo>
                  <a:lnTo>
                    <a:pt x="91" y="319"/>
                  </a:lnTo>
                  <a:lnTo>
                    <a:pt x="89" y="318"/>
                  </a:lnTo>
                  <a:lnTo>
                    <a:pt x="80" y="316"/>
                  </a:lnTo>
                  <a:lnTo>
                    <a:pt x="70" y="316"/>
                  </a:lnTo>
                  <a:lnTo>
                    <a:pt x="59" y="318"/>
                  </a:lnTo>
                  <a:lnTo>
                    <a:pt x="49" y="318"/>
                  </a:lnTo>
                  <a:lnTo>
                    <a:pt x="39" y="316"/>
                  </a:lnTo>
                  <a:lnTo>
                    <a:pt x="36" y="316"/>
                  </a:lnTo>
                  <a:lnTo>
                    <a:pt x="33" y="313"/>
                  </a:lnTo>
                  <a:lnTo>
                    <a:pt x="32" y="310"/>
                  </a:lnTo>
                  <a:lnTo>
                    <a:pt x="32" y="306"/>
                  </a:lnTo>
                  <a:lnTo>
                    <a:pt x="32" y="306"/>
                  </a:lnTo>
                  <a:lnTo>
                    <a:pt x="39" y="306"/>
                  </a:lnTo>
                  <a:lnTo>
                    <a:pt x="49" y="306"/>
                  </a:lnTo>
                  <a:lnTo>
                    <a:pt x="68" y="303"/>
                  </a:lnTo>
                  <a:lnTo>
                    <a:pt x="68" y="303"/>
                  </a:lnTo>
                  <a:lnTo>
                    <a:pt x="77" y="303"/>
                  </a:lnTo>
                  <a:lnTo>
                    <a:pt x="86" y="303"/>
                  </a:lnTo>
                  <a:lnTo>
                    <a:pt x="90" y="303"/>
                  </a:lnTo>
                  <a:lnTo>
                    <a:pt x="93" y="302"/>
                  </a:lnTo>
                  <a:lnTo>
                    <a:pt x="96" y="299"/>
                  </a:lnTo>
                  <a:lnTo>
                    <a:pt x="96" y="294"/>
                  </a:lnTo>
                  <a:lnTo>
                    <a:pt x="96" y="294"/>
                  </a:lnTo>
                  <a:lnTo>
                    <a:pt x="89" y="292"/>
                  </a:lnTo>
                  <a:lnTo>
                    <a:pt x="78" y="292"/>
                  </a:lnTo>
                  <a:lnTo>
                    <a:pt x="59" y="290"/>
                  </a:lnTo>
                  <a:lnTo>
                    <a:pt x="51" y="290"/>
                  </a:lnTo>
                  <a:lnTo>
                    <a:pt x="42" y="287"/>
                  </a:lnTo>
                  <a:lnTo>
                    <a:pt x="36" y="284"/>
                  </a:lnTo>
                  <a:lnTo>
                    <a:pt x="33" y="281"/>
                  </a:lnTo>
                  <a:lnTo>
                    <a:pt x="32" y="278"/>
                  </a:lnTo>
                  <a:lnTo>
                    <a:pt x="32" y="278"/>
                  </a:lnTo>
                  <a:lnTo>
                    <a:pt x="38" y="276"/>
                  </a:lnTo>
                  <a:lnTo>
                    <a:pt x="46" y="276"/>
                  </a:lnTo>
                  <a:lnTo>
                    <a:pt x="65" y="277"/>
                  </a:lnTo>
                  <a:lnTo>
                    <a:pt x="74" y="278"/>
                  </a:lnTo>
                  <a:lnTo>
                    <a:pt x="83" y="278"/>
                  </a:lnTo>
                  <a:lnTo>
                    <a:pt x="90" y="277"/>
                  </a:lnTo>
                  <a:lnTo>
                    <a:pt x="93" y="276"/>
                  </a:lnTo>
                  <a:lnTo>
                    <a:pt x="96" y="273"/>
                  </a:lnTo>
                  <a:lnTo>
                    <a:pt x="96" y="273"/>
                  </a:lnTo>
                  <a:lnTo>
                    <a:pt x="87" y="271"/>
                  </a:lnTo>
                  <a:lnTo>
                    <a:pt x="78" y="273"/>
                  </a:lnTo>
                  <a:lnTo>
                    <a:pt x="61" y="273"/>
                  </a:lnTo>
                  <a:lnTo>
                    <a:pt x="52" y="273"/>
                  </a:lnTo>
                  <a:lnTo>
                    <a:pt x="45" y="270"/>
                  </a:lnTo>
                  <a:lnTo>
                    <a:pt x="40" y="267"/>
                  </a:lnTo>
                  <a:lnTo>
                    <a:pt x="38" y="261"/>
                  </a:lnTo>
                  <a:lnTo>
                    <a:pt x="38" y="261"/>
                  </a:lnTo>
                  <a:lnTo>
                    <a:pt x="43" y="258"/>
                  </a:lnTo>
                  <a:lnTo>
                    <a:pt x="51" y="258"/>
                  </a:lnTo>
                  <a:lnTo>
                    <a:pt x="68" y="258"/>
                  </a:lnTo>
                  <a:lnTo>
                    <a:pt x="77" y="259"/>
                  </a:lnTo>
                  <a:lnTo>
                    <a:pt x="86" y="258"/>
                  </a:lnTo>
                  <a:lnTo>
                    <a:pt x="91" y="257"/>
                  </a:lnTo>
                  <a:lnTo>
                    <a:pt x="94" y="255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96" y="246"/>
                  </a:lnTo>
                  <a:lnTo>
                    <a:pt x="96" y="246"/>
                  </a:lnTo>
                  <a:lnTo>
                    <a:pt x="90" y="245"/>
                  </a:lnTo>
                  <a:lnTo>
                    <a:pt x="81" y="243"/>
                  </a:lnTo>
                  <a:lnTo>
                    <a:pt x="62" y="245"/>
                  </a:lnTo>
                  <a:lnTo>
                    <a:pt x="52" y="245"/>
                  </a:lnTo>
                  <a:lnTo>
                    <a:pt x="45" y="243"/>
                  </a:lnTo>
                  <a:lnTo>
                    <a:pt x="38" y="241"/>
                  </a:lnTo>
                  <a:lnTo>
                    <a:pt x="36" y="239"/>
                  </a:lnTo>
                  <a:lnTo>
                    <a:pt x="35" y="236"/>
                  </a:lnTo>
                  <a:lnTo>
                    <a:pt x="35" y="236"/>
                  </a:lnTo>
                  <a:lnTo>
                    <a:pt x="36" y="233"/>
                  </a:lnTo>
                  <a:lnTo>
                    <a:pt x="39" y="232"/>
                  </a:lnTo>
                  <a:lnTo>
                    <a:pt x="46" y="230"/>
                  </a:lnTo>
                  <a:lnTo>
                    <a:pt x="55" y="229"/>
                  </a:lnTo>
                  <a:lnTo>
                    <a:pt x="65" y="230"/>
                  </a:lnTo>
                  <a:lnTo>
                    <a:pt x="75" y="230"/>
                  </a:lnTo>
                  <a:lnTo>
                    <a:pt x="84" y="230"/>
                  </a:lnTo>
                  <a:lnTo>
                    <a:pt x="91" y="229"/>
                  </a:lnTo>
                  <a:lnTo>
                    <a:pt x="94" y="227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4" y="222"/>
                  </a:lnTo>
                  <a:lnTo>
                    <a:pt x="91" y="220"/>
                  </a:lnTo>
                  <a:lnTo>
                    <a:pt x="86" y="219"/>
                  </a:lnTo>
                  <a:lnTo>
                    <a:pt x="77" y="219"/>
                  </a:lnTo>
                  <a:lnTo>
                    <a:pt x="68" y="219"/>
                  </a:lnTo>
                  <a:lnTo>
                    <a:pt x="59" y="219"/>
                  </a:lnTo>
                  <a:lnTo>
                    <a:pt x="51" y="219"/>
                  </a:lnTo>
                  <a:lnTo>
                    <a:pt x="46" y="216"/>
                  </a:lnTo>
                  <a:lnTo>
                    <a:pt x="43" y="214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45" y="208"/>
                  </a:lnTo>
                  <a:lnTo>
                    <a:pt x="46" y="207"/>
                  </a:lnTo>
                  <a:lnTo>
                    <a:pt x="52" y="204"/>
                  </a:lnTo>
                  <a:lnTo>
                    <a:pt x="61" y="204"/>
                  </a:lnTo>
                  <a:lnTo>
                    <a:pt x="70" y="206"/>
                  </a:lnTo>
                  <a:lnTo>
                    <a:pt x="78" y="206"/>
                  </a:lnTo>
                  <a:lnTo>
                    <a:pt x="86" y="206"/>
                  </a:lnTo>
                  <a:lnTo>
                    <a:pt x="91" y="204"/>
                  </a:lnTo>
                  <a:lnTo>
                    <a:pt x="94" y="201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86" y="198"/>
                  </a:lnTo>
                  <a:lnTo>
                    <a:pt x="75" y="198"/>
                  </a:lnTo>
                  <a:lnTo>
                    <a:pt x="70" y="197"/>
                  </a:lnTo>
                  <a:lnTo>
                    <a:pt x="67" y="195"/>
                  </a:lnTo>
                  <a:lnTo>
                    <a:pt x="64" y="192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5" y="184"/>
                  </a:lnTo>
                  <a:lnTo>
                    <a:pt x="68" y="182"/>
                  </a:lnTo>
                  <a:lnTo>
                    <a:pt x="74" y="182"/>
                  </a:lnTo>
                  <a:lnTo>
                    <a:pt x="80" y="184"/>
                  </a:lnTo>
                  <a:lnTo>
                    <a:pt x="86" y="185"/>
                  </a:lnTo>
                  <a:lnTo>
                    <a:pt x="90" y="185"/>
                  </a:lnTo>
                  <a:lnTo>
                    <a:pt x="94" y="184"/>
                  </a:lnTo>
                  <a:lnTo>
                    <a:pt x="96" y="179"/>
                  </a:lnTo>
                  <a:lnTo>
                    <a:pt x="96" y="179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3" y="172"/>
                  </a:lnTo>
                  <a:lnTo>
                    <a:pt x="89" y="172"/>
                  </a:lnTo>
                  <a:lnTo>
                    <a:pt x="78" y="171"/>
                  </a:lnTo>
                  <a:lnTo>
                    <a:pt x="74" y="171"/>
                  </a:lnTo>
                  <a:lnTo>
                    <a:pt x="70" y="169"/>
                  </a:lnTo>
                  <a:lnTo>
                    <a:pt x="68" y="165"/>
                  </a:lnTo>
                  <a:lnTo>
                    <a:pt x="68" y="160"/>
                  </a:lnTo>
                  <a:lnTo>
                    <a:pt x="68" y="160"/>
                  </a:lnTo>
                  <a:lnTo>
                    <a:pt x="70" y="157"/>
                  </a:lnTo>
                  <a:lnTo>
                    <a:pt x="74" y="157"/>
                  </a:lnTo>
                  <a:lnTo>
                    <a:pt x="84" y="157"/>
                  </a:lnTo>
                  <a:lnTo>
                    <a:pt x="89" y="157"/>
                  </a:lnTo>
                  <a:lnTo>
                    <a:pt x="93" y="157"/>
                  </a:lnTo>
                  <a:lnTo>
                    <a:pt x="94" y="156"/>
                  </a:lnTo>
                  <a:lnTo>
                    <a:pt x="96" y="152"/>
                  </a:lnTo>
                  <a:lnTo>
                    <a:pt x="96" y="152"/>
                  </a:lnTo>
                  <a:lnTo>
                    <a:pt x="94" y="149"/>
                  </a:lnTo>
                  <a:lnTo>
                    <a:pt x="91" y="146"/>
                  </a:lnTo>
                  <a:lnTo>
                    <a:pt x="83" y="146"/>
                  </a:lnTo>
                  <a:lnTo>
                    <a:pt x="78" y="146"/>
                  </a:lnTo>
                  <a:lnTo>
                    <a:pt x="74" y="144"/>
                  </a:lnTo>
                  <a:lnTo>
                    <a:pt x="71" y="141"/>
                  </a:lnTo>
                  <a:lnTo>
                    <a:pt x="71" y="139"/>
                  </a:lnTo>
                  <a:lnTo>
                    <a:pt x="71" y="139"/>
                  </a:lnTo>
                  <a:lnTo>
                    <a:pt x="75" y="134"/>
                  </a:lnTo>
                  <a:lnTo>
                    <a:pt x="81" y="133"/>
                  </a:lnTo>
                  <a:lnTo>
                    <a:pt x="87" y="133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96" y="106"/>
                  </a:lnTo>
                  <a:lnTo>
                    <a:pt x="96" y="95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80" y="82"/>
                  </a:lnTo>
                  <a:lnTo>
                    <a:pt x="58" y="82"/>
                  </a:lnTo>
                  <a:lnTo>
                    <a:pt x="36" y="83"/>
                  </a:lnTo>
                  <a:lnTo>
                    <a:pt x="27" y="85"/>
                  </a:lnTo>
                  <a:lnTo>
                    <a:pt x="20" y="88"/>
                  </a:lnTo>
                  <a:lnTo>
                    <a:pt x="20" y="88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36">
              <a:extLst>
                <a:ext uri="{FF2B5EF4-FFF2-40B4-BE49-F238E27FC236}">
                  <a16:creationId xmlns:a16="http://schemas.microsoft.com/office/drawing/2014/main" id="{813B18DB-67DB-4CB3-A281-C614512F5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5923" y="1584993"/>
              <a:ext cx="39818" cy="28958"/>
            </a:xfrm>
            <a:custGeom>
              <a:avLst/>
              <a:gdLst>
                <a:gd name="T0" fmla="*/ 28 w 33"/>
                <a:gd name="T1" fmla="*/ 0 h 24"/>
                <a:gd name="T2" fmla="*/ 28 w 33"/>
                <a:gd name="T3" fmla="*/ 0 h 24"/>
                <a:gd name="T4" fmla="*/ 33 w 33"/>
                <a:gd name="T5" fmla="*/ 11 h 24"/>
                <a:gd name="T6" fmla="*/ 33 w 33"/>
                <a:gd name="T7" fmla="*/ 11 h 24"/>
                <a:gd name="T8" fmla="*/ 32 w 33"/>
                <a:gd name="T9" fmla="*/ 14 h 24"/>
                <a:gd name="T10" fmla="*/ 30 w 33"/>
                <a:gd name="T11" fmla="*/ 17 h 24"/>
                <a:gd name="T12" fmla="*/ 25 w 33"/>
                <a:gd name="T13" fmla="*/ 21 h 24"/>
                <a:gd name="T14" fmla="*/ 17 w 33"/>
                <a:gd name="T15" fmla="*/ 24 h 24"/>
                <a:gd name="T16" fmla="*/ 9 w 33"/>
                <a:gd name="T17" fmla="*/ 24 h 24"/>
                <a:gd name="T18" fmla="*/ 9 w 33"/>
                <a:gd name="T19" fmla="*/ 24 h 24"/>
                <a:gd name="T20" fmla="*/ 7 w 33"/>
                <a:gd name="T21" fmla="*/ 21 h 24"/>
                <a:gd name="T22" fmla="*/ 4 w 33"/>
                <a:gd name="T23" fmla="*/ 20 h 24"/>
                <a:gd name="T24" fmla="*/ 1 w 33"/>
                <a:gd name="T25" fmla="*/ 17 h 24"/>
                <a:gd name="T26" fmla="*/ 0 w 33"/>
                <a:gd name="T27" fmla="*/ 14 h 24"/>
                <a:gd name="T28" fmla="*/ 0 w 33"/>
                <a:gd name="T29" fmla="*/ 14 h 24"/>
                <a:gd name="T30" fmla="*/ 1 w 33"/>
                <a:gd name="T31" fmla="*/ 10 h 24"/>
                <a:gd name="T32" fmla="*/ 3 w 33"/>
                <a:gd name="T33" fmla="*/ 5 h 24"/>
                <a:gd name="T34" fmla="*/ 6 w 33"/>
                <a:gd name="T35" fmla="*/ 4 h 24"/>
                <a:gd name="T36" fmla="*/ 9 w 33"/>
                <a:gd name="T37" fmla="*/ 1 h 24"/>
                <a:gd name="T38" fmla="*/ 17 w 33"/>
                <a:gd name="T39" fmla="*/ 0 h 24"/>
                <a:gd name="T40" fmla="*/ 28 w 33"/>
                <a:gd name="T41" fmla="*/ 0 h 24"/>
                <a:gd name="T42" fmla="*/ 28 w 33"/>
                <a:gd name="T4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24">
                  <a:moveTo>
                    <a:pt x="28" y="0"/>
                  </a:moveTo>
                  <a:lnTo>
                    <a:pt x="28" y="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2" y="14"/>
                  </a:lnTo>
                  <a:lnTo>
                    <a:pt x="30" y="17"/>
                  </a:lnTo>
                  <a:lnTo>
                    <a:pt x="25" y="21"/>
                  </a:lnTo>
                  <a:lnTo>
                    <a:pt x="17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7" y="21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0"/>
                  </a:lnTo>
                  <a:lnTo>
                    <a:pt x="3" y="5"/>
                  </a:lnTo>
                  <a:lnTo>
                    <a:pt x="6" y="4"/>
                  </a:lnTo>
                  <a:lnTo>
                    <a:pt x="9" y="1"/>
                  </a:lnTo>
                  <a:lnTo>
                    <a:pt x="17" y="0"/>
                  </a:lnTo>
                  <a:lnTo>
                    <a:pt x="28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41">
              <a:extLst>
                <a:ext uri="{FF2B5EF4-FFF2-40B4-BE49-F238E27FC236}">
                  <a16:creationId xmlns:a16="http://schemas.microsoft.com/office/drawing/2014/main" id="{675D4C72-0693-4433-BE99-B66F5BBEF9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2739" y="1605506"/>
              <a:ext cx="109800" cy="54297"/>
            </a:xfrm>
            <a:custGeom>
              <a:avLst/>
              <a:gdLst>
                <a:gd name="T0" fmla="*/ 91 w 91"/>
                <a:gd name="T1" fmla="*/ 10 h 45"/>
                <a:gd name="T2" fmla="*/ 91 w 91"/>
                <a:gd name="T3" fmla="*/ 10 h 45"/>
                <a:gd name="T4" fmla="*/ 91 w 91"/>
                <a:gd name="T5" fmla="*/ 28 h 45"/>
                <a:gd name="T6" fmla="*/ 89 w 91"/>
                <a:gd name="T7" fmla="*/ 35 h 45"/>
                <a:gd name="T8" fmla="*/ 88 w 91"/>
                <a:gd name="T9" fmla="*/ 41 h 45"/>
                <a:gd name="T10" fmla="*/ 88 w 91"/>
                <a:gd name="T11" fmla="*/ 41 h 45"/>
                <a:gd name="T12" fmla="*/ 68 w 91"/>
                <a:gd name="T13" fmla="*/ 44 h 45"/>
                <a:gd name="T14" fmla="*/ 44 w 91"/>
                <a:gd name="T15" fmla="*/ 45 h 45"/>
                <a:gd name="T16" fmla="*/ 21 w 91"/>
                <a:gd name="T17" fmla="*/ 44 h 45"/>
                <a:gd name="T18" fmla="*/ 0 w 91"/>
                <a:gd name="T19" fmla="*/ 41 h 45"/>
                <a:gd name="T20" fmla="*/ 0 w 91"/>
                <a:gd name="T21" fmla="*/ 41 h 45"/>
                <a:gd name="T22" fmla="*/ 0 w 91"/>
                <a:gd name="T23" fmla="*/ 28 h 45"/>
                <a:gd name="T24" fmla="*/ 2 w 91"/>
                <a:gd name="T25" fmla="*/ 15 h 45"/>
                <a:gd name="T26" fmla="*/ 5 w 91"/>
                <a:gd name="T27" fmla="*/ 10 h 45"/>
                <a:gd name="T28" fmla="*/ 8 w 91"/>
                <a:gd name="T29" fmla="*/ 6 h 45"/>
                <a:gd name="T30" fmla="*/ 11 w 91"/>
                <a:gd name="T31" fmla="*/ 2 h 45"/>
                <a:gd name="T32" fmla="*/ 15 w 91"/>
                <a:gd name="T33" fmla="*/ 0 h 45"/>
                <a:gd name="T34" fmla="*/ 15 w 91"/>
                <a:gd name="T35" fmla="*/ 0 h 45"/>
                <a:gd name="T36" fmla="*/ 24 w 91"/>
                <a:gd name="T37" fmla="*/ 2 h 45"/>
                <a:gd name="T38" fmla="*/ 33 w 91"/>
                <a:gd name="T39" fmla="*/ 3 h 45"/>
                <a:gd name="T40" fmla="*/ 53 w 91"/>
                <a:gd name="T41" fmla="*/ 4 h 45"/>
                <a:gd name="T42" fmla="*/ 73 w 91"/>
                <a:gd name="T43" fmla="*/ 6 h 45"/>
                <a:gd name="T44" fmla="*/ 82 w 91"/>
                <a:gd name="T45" fmla="*/ 9 h 45"/>
                <a:gd name="T46" fmla="*/ 91 w 91"/>
                <a:gd name="T47" fmla="*/ 10 h 45"/>
                <a:gd name="T48" fmla="*/ 91 w 91"/>
                <a:gd name="T49" fmla="*/ 10 h 45"/>
                <a:gd name="T50" fmla="*/ 15 w 91"/>
                <a:gd name="T51" fmla="*/ 31 h 45"/>
                <a:gd name="T52" fmla="*/ 15 w 91"/>
                <a:gd name="T53" fmla="*/ 31 h 45"/>
                <a:gd name="T54" fmla="*/ 22 w 91"/>
                <a:gd name="T55" fmla="*/ 29 h 45"/>
                <a:gd name="T56" fmla="*/ 31 w 91"/>
                <a:gd name="T57" fmla="*/ 29 h 45"/>
                <a:gd name="T58" fmla="*/ 49 w 91"/>
                <a:gd name="T59" fmla="*/ 31 h 45"/>
                <a:gd name="T60" fmla="*/ 57 w 91"/>
                <a:gd name="T61" fmla="*/ 31 h 45"/>
                <a:gd name="T62" fmla="*/ 66 w 91"/>
                <a:gd name="T63" fmla="*/ 31 h 45"/>
                <a:gd name="T64" fmla="*/ 72 w 91"/>
                <a:gd name="T65" fmla="*/ 28 h 45"/>
                <a:gd name="T66" fmla="*/ 76 w 91"/>
                <a:gd name="T67" fmla="*/ 25 h 45"/>
                <a:gd name="T68" fmla="*/ 76 w 91"/>
                <a:gd name="T69" fmla="*/ 25 h 45"/>
                <a:gd name="T70" fmla="*/ 70 w 91"/>
                <a:gd name="T71" fmla="*/ 22 h 45"/>
                <a:gd name="T72" fmla="*/ 63 w 91"/>
                <a:gd name="T73" fmla="*/ 21 h 45"/>
                <a:gd name="T74" fmla="*/ 47 w 91"/>
                <a:gd name="T75" fmla="*/ 19 h 45"/>
                <a:gd name="T76" fmla="*/ 31 w 91"/>
                <a:gd name="T77" fmla="*/ 18 h 45"/>
                <a:gd name="T78" fmla="*/ 24 w 91"/>
                <a:gd name="T79" fmla="*/ 16 h 45"/>
                <a:gd name="T80" fmla="*/ 18 w 91"/>
                <a:gd name="T81" fmla="*/ 13 h 45"/>
                <a:gd name="T82" fmla="*/ 18 w 91"/>
                <a:gd name="T83" fmla="*/ 13 h 45"/>
                <a:gd name="T84" fmla="*/ 17 w 91"/>
                <a:gd name="T85" fmla="*/ 18 h 45"/>
                <a:gd name="T86" fmla="*/ 15 w 91"/>
                <a:gd name="T87" fmla="*/ 21 h 45"/>
                <a:gd name="T88" fmla="*/ 15 w 91"/>
                <a:gd name="T89" fmla="*/ 25 h 45"/>
                <a:gd name="T90" fmla="*/ 15 w 91"/>
                <a:gd name="T91" fmla="*/ 31 h 45"/>
                <a:gd name="T92" fmla="*/ 15 w 91"/>
                <a:gd name="T93" fmla="*/ 3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1" h="45">
                  <a:moveTo>
                    <a:pt x="91" y="10"/>
                  </a:moveTo>
                  <a:lnTo>
                    <a:pt x="91" y="10"/>
                  </a:lnTo>
                  <a:lnTo>
                    <a:pt x="91" y="28"/>
                  </a:lnTo>
                  <a:lnTo>
                    <a:pt x="89" y="35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68" y="44"/>
                  </a:lnTo>
                  <a:lnTo>
                    <a:pt x="44" y="45"/>
                  </a:lnTo>
                  <a:lnTo>
                    <a:pt x="21" y="44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28"/>
                  </a:lnTo>
                  <a:lnTo>
                    <a:pt x="2" y="15"/>
                  </a:lnTo>
                  <a:lnTo>
                    <a:pt x="5" y="10"/>
                  </a:lnTo>
                  <a:lnTo>
                    <a:pt x="8" y="6"/>
                  </a:lnTo>
                  <a:lnTo>
                    <a:pt x="11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24" y="2"/>
                  </a:lnTo>
                  <a:lnTo>
                    <a:pt x="33" y="3"/>
                  </a:lnTo>
                  <a:lnTo>
                    <a:pt x="53" y="4"/>
                  </a:lnTo>
                  <a:lnTo>
                    <a:pt x="73" y="6"/>
                  </a:lnTo>
                  <a:lnTo>
                    <a:pt x="82" y="9"/>
                  </a:lnTo>
                  <a:lnTo>
                    <a:pt x="91" y="10"/>
                  </a:lnTo>
                  <a:lnTo>
                    <a:pt x="91" y="10"/>
                  </a:lnTo>
                  <a:close/>
                  <a:moveTo>
                    <a:pt x="15" y="31"/>
                  </a:moveTo>
                  <a:lnTo>
                    <a:pt x="15" y="31"/>
                  </a:lnTo>
                  <a:lnTo>
                    <a:pt x="22" y="29"/>
                  </a:lnTo>
                  <a:lnTo>
                    <a:pt x="31" y="29"/>
                  </a:lnTo>
                  <a:lnTo>
                    <a:pt x="49" y="31"/>
                  </a:lnTo>
                  <a:lnTo>
                    <a:pt x="57" y="31"/>
                  </a:lnTo>
                  <a:lnTo>
                    <a:pt x="66" y="31"/>
                  </a:lnTo>
                  <a:lnTo>
                    <a:pt x="72" y="28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0" y="22"/>
                  </a:lnTo>
                  <a:lnTo>
                    <a:pt x="63" y="21"/>
                  </a:lnTo>
                  <a:lnTo>
                    <a:pt x="47" y="19"/>
                  </a:lnTo>
                  <a:lnTo>
                    <a:pt x="31" y="18"/>
                  </a:lnTo>
                  <a:lnTo>
                    <a:pt x="24" y="16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7" y="18"/>
                  </a:lnTo>
                  <a:lnTo>
                    <a:pt x="15" y="21"/>
                  </a:lnTo>
                  <a:lnTo>
                    <a:pt x="15" y="25"/>
                  </a:lnTo>
                  <a:lnTo>
                    <a:pt x="15" y="31"/>
                  </a:lnTo>
                  <a:lnTo>
                    <a:pt x="15" y="31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45">
              <a:extLst>
                <a:ext uri="{FF2B5EF4-FFF2-40B4-BE49-F238E27FC236}">
                  <a16:creationId xmlns:a16="http://schemas.microsoft.com/office/drawing/2014/main" id="{1ABCFE84-4334-47F2-B737-3A48DE24EA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28025" y="1636877"/>
              <a:ext cx="269070" cy="260623"/>
            </a:xfrm>
            <a:custGeom>
              <a:avLst/>
              <a:gdLst>
                <a:gd name="T0" fmla="*/ 73 w 223"/>
                <a:gd name="T1" fmla="*/ 5 h 216"/>
                <a:gd name="T2" fmla="*/ 104 w 223"/>
                <a:gd name="T3" fmla="*/ 0 h 216"/>
                <a:gd name="T4" fmla="*/ 133 w 223"/>
                <a:gd name="T5" fmla="*/ 3 h 216"/>
                <a:gd name="T6" fmla="*/ 159 w 223"/>
                <a:gd name="T7" fmla="*/ 12 h 216"/>
                <a:gd name="T8" fmla="*/ 181 w 223"/>
                <a:gd name="T9" fmla="*/ 27 h 216"/>
                <a:gd name="T10" fmla="*/ 200 w 223"/>
                <a:gd name="T11" fmla="*/ 44 h 216"/>
                <a:gd name="T12" fmla="*/ 214 w 223"/>
                <a:gd name="T13" fmla="*/ 66 h 216"/>
                <a:gd name="T14" fmla="*/ 222 w 223"/>
                <a:gd name="T15" fmla="*/ 91 h 216"/>
                <a:gd name="T16" fmla="*/ 223 w 223"/>
                <a:gd name="T17" fmla="*/ 118 h 216"/>
                <a:gd name="T18" fmla="*/ 223 w 223"/>
                <a:gd name="T19" fmla="*/ 127 h 216"/>
                <a:gd name="T20" fmla="*/ 217 w 223"/>
                <a:gd name="T21" fmla="*/ 146 h 216"/>
                <a:gd name="T22" fmla="*/ 209 w 223"/>
                <a:gd name="T23" fmla="*/ 165 h 216"/>
                <a:gd name="T24" fmla="*/ 195 w 223"/>
                <a:gd name="T25" fmla="*/ 181 h 216"/>
                <a:gd name="T26" fmla="*/ 188 w 223"/>
                <a:gd name="T27" fmla="*/ 187 h 216"/>
                <a:gd name="T28" fmla="*/ 169 w 223"/>
                <a:gd name="T29" fmla="*/ 193 h 216"/>
                <a:gd name="T30" fmla="*/ 149 w 223"/>
                <a:gd name="T31" fmla="*/ 197 h 216"/>
                <a:gd name="T32" fmla="*/ 139 w 223"/>
                <a:gd name="T33" fmla="*/ 203 h 216"/>
                <a:gd name="T34" fmla="*/ 123 w 223"/>
                <a:gd name="T35" fmla="*/ 212 h 216"/>
                <a:gd name="T36" fmla="*/ 115 w 223"/>
                <a:gd name="T37" fmla="*/ 215 h 216"/>
                <a:gd name="T38" fmla="*/ 91 w 223"/>
                <a:gd name="T39" fmla="*/ 216 h 216"/>
                <a:gd name="T40" fmla="*/ 69 w 223"/>
                <a:gd name="T41" fmla="*/ 213 h 216"/>
                <a:gd name="T42" fmla="*/ 50 w 223"/>
                <a:gd name="T43" fmla="*/ 206 h 216"/>
                <a:gd name="T44" fmla="*/ 35 w 223"/>
                <a:gd name="T45" fmla="*/ 194 h 216"/>
                <a:gd name="T46" fmla="*/ 22 w 223"/>
                <a:gd name="T47" fmla="*/ 181 h 216"/>
                <a:gd name="T48" fmla="*/ 12 w 223"/>
                <a:gd name="T49" fmla="*/ 164 h 216"/>
                <a:gd name="T50" fmla="*/ 2 w 223"/>
                <a:gd name="T51" fmla="*/ 127 h 216"/>
                <a:gd name="T52" fmla="*/ 3 w 223"/>
                <a:gd name="T53" fmla="*/ 88 h 216"/>
                <a:gd name="T54" fmla="*/ 15 w 223"/>
                <a:gd name="T55" fmla="*/ 50 h 216"/>
                <a:gd name="T56" fmla="*/ 25 w 223"/>
                <a:gd name="T57" fmla="*/ 34 h 216"/>
                <a:gd name="T58" fmla="*/ 38 w 223"/>
                <a:gd name="T59" fmla="*/ 21 h 216"/>
                <a:gd name="T60" fmla="*/ 54 w 223"/>
                <a:gd name="T61" fmla="*/ 11 h 216"/>
                <a:gd name="T62" fmla="*/ 73 w 223"/>
                <a:gd name="T63" fmla="*/ 5 h 216"/>
                <a:gd name="T64" fmla="*/ 182 w 223"/>
                <a:gd name="T65" fmla="*/ 47 h 216"/>
                <a:gd name="T66" fmla="*/ 172 w 223"/>
                <a:gd name="T67" fmla="*/ 38 h 216"/>
                <a:gd name="T68" fmla="*/ 152 w 223"/>
                <a:gd name="T69" fmla="*/ 27 h 216"/>
                <a:gd name="T70" fmla="*/ 127 w 223"/>
                <a:gd name="T71" fmla="*/ 19 h 216"/>
                <a:gd name="T72" fmla="*/ 101 w 223"/>
                <a:gd name="T73" fmla="*/ 18 h 216"/>
                <a:gd name="T74" fmla="*/ 76 w 223"/>
                <a:gd name="T75" fmla="*/ 22 h 216"/>
                <a:gd name="T76" fmla="*/ 53 w 223"/>
                <a:gd name="T77" fmla="*/ 32 h 216"/>
                <a:gd name="T78" fmla="*/ 34 w 223"/>
                <a:gd name="T79" fmla="*/ 48 h 216"/>
                <a:gd name="T80" fmla="*/ 21 w 223"/>
                <a:gd name="T81" fmla="*/ 70 h 216"/>
                <a:gd name="T82" fmla="*/ 16 w 223"/>
                <a:gd name="T83" fmla="*/ 82 h 216"/>
                <a:gd name="T84" fmla="*/ 16 w 223"/>
                <a:gd name="T85" fmla="*/ 120 h 216"/>
                <a:gd name="T86" fmla="*/ 25 w 223"/>
                <a:gd name="T87" fmla="*/ 153 h 216"/>
                <a:gd name="T88" fmla="*/ 43 w 223"/>
                <a:gd name="T89" fmla="*/ 180 h 216"/>
                <a:gd name="T90" fmla="*/ 61 w 223"/>
                <a:gd name="T91" fmla="*/ 194 h 216"/>
                <a:gd name="T92" fmla="*/ 73 w 223"/>
                <a:gd name="T93" fmla="*/ 197 h 216"/>
                <a:gd name="T94" fmla="*/ 93 w 223"/>
                <a:gd name="T95" fmla="*/ 199 h 216"/>
                <a:gd name="T96" fmla="*/ 123 w 223"/>
                <a:gd name="T97" fmla="*/ 191 h 216"/>
                <a:gd name="T98" fmla="*/ 137 w 223"/>
                <a:gd name="T99" fmla="*/ 187 h 216"/>
                <a:gd name="T100" fmla="*/ 153 w 223"/>
                <a:gd name="T101" fmla="*/ 182 h 216"/>
                <a:gd name="T102" fmla="*/ 165 w 223"/>
                <a:gd name="T103" fmla="*/ 181 h 216"/>
                <a:gd name="T104" fmla="*/ 172 w 223"/>
                <a:gd name="T105" fmla="*/ 177 h 216"/>
                <a:gd name="T106" fmla="*/ 190 w 223"/>
                <a:gd name="T107" fmla="*/ 159 h 216"/>
                <a:gd name="T108" fmla="*/ 207 w 223"/>
                <a:gd name="T109" fmla="*/ 133 h 216"/>
                <a:gd name="T110" fmla="*/ 207 w 223"/>
                <a:gd name="T111" fmla="*/ 120 h 216"/>
                <a:gd name="T112" fmla="*/ 204 w 223"/>
                <a:gd name="T113" fmla="*/ 95 h 216"/>
                <a:gd name="T114" fmla="*/ 198 w 223"/>
                <a:gd name="T115" fmla="*/ 72 h 216"/>
                <a:gd name="T116" fmla="*/ 188 w 223"/>
                <a:gd name="T117" fmla="*/ 54 h 216"/>
                <a:gd name="T118" fmla="*/ 182 w 223"/>
                <a:gd name="T119" fmla="*/ 4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3" h="216">
                  <a:moveTo>
                    <a:pt x="73" y="5"/>
                  </a:moveTo>
                  <a:lnTo>
                    <a:pt x="73" y="5"/>
                  </a:lnTo>
                  <a:lnTo>
                    <a:pt x="89" y="2"/>
                  </a:lnTo>
                  <a:lnTo>
                    <a:pt x="104" y="0"/>
                  </a:lnTo>
                  <a:lnTo>
                    <a:pt x="118" y="2"/>
                  </a:lnTo>
                  <a:lnTo>
                    <a:pt x="133" y="3"/>
                  </a:lnTo>
                  <a:lnTo>
                    <a:pt x="146" y="8"/>
                  </a:lnTo>
                  <a:lnTo>
                    <a:pt x="159" y="12"/>
                  </a:lnTo>
                  <a:lnTo>
                    <a:pt x="171" y="18"/>
                  </a:lnTo>
                  <a:lnTo>
                    <a:pt x="181" y="27"/>
                  </a:lnTo>
                  <a:lnTo>
                    <a:pt x="191" y="34"/>
                  </a:lnTo>
                  <a:lnTo>
                    <a:pt x="200" y="44"/>
                  </a:lnTo>
                  <a:lnTo>
                    <a:pt x="207" y="54"/>
                  </a:lnTo>
                  <a:lnTo>
                    <a:pt x="214" y="66"/>
                  </a:lnTo>
                  <a:lnTo>
                    <a:pt x="219" y="78"/>
                  </a:lnTo>
                  <a:lnTo>
                    <a:pt x="222" y="91"/>
                  </a:lnTo>
                  <a:lnTo>
                    <a:pt x="223" y="105"/>
                  </a:lnTo>
                  <a:lnTo>
                    <a:pt x="223" y="118"/>
                  </a:lnTo>
                  <a:lnTo>
                    <a:pt x="223" y="118"/>
                  </a:lnTo>
                  <a:lnTo>
                    <a:pt x="223" y="127"/>
                  </a:lnTo>
                  <a:lnTo>
                    <a:pt x="220" y="137"/>
                  </a:lnTo>
                  <a:lnTo>
                    <a:pt x="217" y="146"/>
                  </a:lnTo>
                  <a:lnTo>
                    <a:pt x="213" y="156"/>
                  </a:lnTo>
                  <a:lnTo>
                    <a:pt x="209" y="165"/>
                  </a:lnTo>
                  <a:lnTo>
                    <a:pt x="203" y="174"/>
                  </a:lnTo>
                  <a:lnTo>
                    <a:pt x="195" y="181"/>
                  </a:lnTo>
                  <a:lnTo>
                    <a:pt x="188" y="187"/>
                  </a:lnTo>
                  <a:lnTo>
                    <a:pt x="188" y="187"/>
                  </a:lnTo>
                  <a:lnTo>
                    <a:pt x="179" y="190"/>
                  </a:lnTo>
                  <a:lnTo>
                    <a:pt x="169" y="193"/>
                  </a:lnTo>
                  <a:lnTo>
                    <a:pt x="158" y="194"/>
                  </a:lnTo>
                  <a:lnTo>
                    <a:pt x="149" y="197"/>
                  </a:lnTo>
                  <a:lnTo>
                    <a:pt x="149" y="197"/>
                  </a:lnTo>
                  <a:lnTo>
                    <a:pt x="139" y="203"/>
                  </a:lnTo>
                  <a:lnTo>
                    <a:pt x="130" y="207"/>
                  </a:lnTo>
                  <a:lnTo>
                    <a:pt x="123" y="212"/>
                  </a:lnTo>
                  <a:lnTo>
                    <a:pt x="115" y="215"/>
                  </a:lnTo>
                  <a:lnTo>
                    <a:pt x="115" y="215"/>
                  </a:lnTo>
                  <a:lnTo>
                    <a:pt x="102" y="216"/>
                  </a:lnTo>
                  <a:lnTo>
                    <a:pt x="91" y="216"/>
                  </a:lnTo>
                  <a:lnTo>
                    <a:pt x="79" y="215"/>
                  </a:lnTo>
                  <a:lnTo>
                    <a:pt x="69" y="213"/>
                  </a:lnTo>
                  <a:lnTo>
                    <a:pt x="60" y="209"/>
                  </a:lnTo>
                  <a:lnTo>
                    <a:pt x="50" y="206"/>
                  </a:lnTo>
                  <a:lnTo>
                    <a:pt x="43" y="200"/>
                  </a:lnTo>
                  <a:lnTo>
                    <a:pt x="35" y="194"/>
                  </a:lnTo>
                  <a:lnTo>
                    <a:pt x="28" y="188"/>
                  </a:lnTo>
                  <a:lnTo>
                    <a:pt x="22" y="181"/>
                  </a:lnTo>
                  <a:lnTo>
                    <a:pt x="18" y="172"/>
                  </a:lnTo>
                  <a:lnTo>
                    <a:pt x="12" y="164"/>
                  </a:lnTo>
                  <a:lnTo>
                    <a:pt x="6" y="146"/>
                  </a:lnTo>
                  <a:lnTo>
                    <a:pt x="2" y="127"/>
                  </a:lnTo>
                  <a:lnTo>
                    <a:pt x="0" y="107"/>
                  </a:lnTo>
                  <a:lnTo>
                    <a:pt x="3" y="88"/>
                  </a:lnTo>
                  <a:lnTo>
                    <a:pt x="8" y="67"/>
                  </a:lnTo>
                  <a:lnTo>
                    <a:pt x="15" y="50"/>
                  </a:lnTo>
                  <a:lnTo>
                    <a:pt x="19" y="43"/>
                  </a:lnTo>
                  <a:lnTo>
                    <a:pt x="25" y="34"/>
                  </a:lnTo>
                  <a:lnTo>
                    <a:pt x="31" y="28"/>
                  </a:lnTo>
                  <a:lnTo>
                    <a:pt x="38" y="21"/>
                  </a:lnTo>
                  <a:lnTo>
                    <a:pt x="45" y="15"/>
                  </a:lnTo>
                  <a:lnTo>
                    <a:pt x="54" y="11"/>
                  </a:lnTo>
                  <a:lnTo>
                    <a:pt x="63" y="8"/>
                  </a:lnTo>
                  <a:lnTo>
                    <a:pt x="73" y="5"/>
                  </a:lnTo>
                  <a:lnTo>
                    <a:pt x="73" y="5"/>
                  </a:lnTo>
                  <a:close/>
                  <a:moveTo>
                    <a:pt x="182" y="47"/>
                  </a:moveTo>
                  <a:lnTo>
                    <a:pt x="182" y="47"/>
                  </a:lnTo>
                  <a:lnTo>
                    <a:pt x="172" y="38"/>
                  </a:lnTo>
                  <a:lnTo>
                    <a:pt x="162" y="31"/>
                  </a:lnTo>
                  <a:lnTo>
                    <a:pt x="152" y="27"/>
                  </a:lnTo>
                  <a:lnTo>
                    <a:pt x="139" y="22"/>
                  </a:lnTo>
                  <a:lnTo>
                    <a:pt x="127" y="19"/>
                  </a:lnTo>
                  <a:lnTo>
                    <a:pt x="114" y="18"/>
                  </a:lnTo>
                  <a:lnTo>
                    <a:pt x="101" y="18"/>
                  </a:lnTo>
                  <a:lnTo>
                    <a:pt x="88" y="19"/>
                  </a:lnTo>
                  <a:lnTo>
                    <a:pt x="76" y="22"/>
                  </a:lnTo>
                  <a:lnTo>
                    <a:pt x="63" y="27"/>
                  </a:lnTo>
                  <a:lnTo>
                    <a:pt x="53" y="32"/>
                  </a:lnTo>
                  <a:lnTo>
                    <a:pt x="43" y="40"/>
                  </a:lnTo>
                  <a:lnTo>
                    <a:pt x="34" y="48"/>
                  </a:lnTo>
                  <a:lnTo>
                    <a:pt x="26" y="59"/>
                  </a:lnTo>
                  <a:lnTo>
                    <a:pt x="21" y="70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5" y="101"/>
                  </a:lnTo>
                  <a:lnTo>
                    <a:pt x="16" y="120"/>
                  </a:lnTo>
                  <a:lnTo>
                    <a:pt x="19" y="137"/>
                  </a:lnTo>
                  <a:lnTo>
                    <a:pt x="25" y="153"/>
                  </a:lnTo>
                  <a:lnTo>
                    <a:pt x="34" y="168"/>
                  </a:lnTo>
                  <a:lnTo>
                    <a:pt x="43" y="180"/>
                  </a:lnTo>
                  <a:lnTo>
                    <a:pt x="51" y="188"/>
                  </a:lnTo>
                  <a:lnTo>
                    <a:pt x="61" y="194"/>
                  </a:lnTo>
                  <a:lnTo>
                    <a:pt x="61" y="194"/>
                  </a:lnTo>
                  <a:lnTo>
                    <a:pt x="73" y="197"/>
                  </a:lnTo>
                  <a:lnTo>
                    <a:pt x="83" y="199"/>
                  </a:lnTo>
                  <a:lnTo>
                    <a:pt x="93" y="199"/>
                  </a:lnTo>
                  <a:lnTo>
                    <a:pt x="104" y="197"/>
                  </a:lnTo>
                  <a:lnTo>
                    <a:pt x="123" y="191"/>
                  </a:lnTo>
                  <a:lnTo>
                    <a:pt x="137" y="187"/>
                  </a:lnTo>
                  <a:lnTo>
                    <a:pt x="137" y="187"/>
                  </a:lnTo>
                  <a:lnTo>
                    <a:pt x="146" y="184"/>
                  </a:lnTo>
                  <a:lnTo>
                    <a:pt x="153" y="182"/>
                  </a:lnTo>
                  <a:lnTo>
                    <a:pt x="161" y="182"/>
                  </a:lnTo>
                  <a:lnTo>
                    <a:pt x="165" y="181"/>
                  </a:lnTo>
                  <a:lnTo>
                    <a:pt x="165" y="181"/>
                  </a:lnTo>
                  <a:lnTo>
                    <a:pt x="172" y="177"/>
                  </a:lnTo>
                  <a:lnTo>
                    <a:pt x="179" y="171"/>
                  </a:lnTo>
                  <a:lnTo>
                    <a:pt x="190" y="159"/>
                  </a:lnTo>
                  <a:lnTo>
                    <a:pt x="198" y="146"/>
                  </a:lnTo>
                  <a:lnTo>
                    <a:pt x="207" y="133"/>
                  </a:lnTo>
                  <a:lnTo>
                    <a:pt x="207" y="133"/>
                  </a:lnTo>
                  <a:lnTo>
                    <a:pt x="207" y="120"/>
                  </a:lnTo>
                  <a:lnTo>
                    <a:pt x="207" y="107"/>
                  </a:lnTo>
                  <a:lnTo>
                    <a:pt x="204" y="95"/>
                  </a:lnTo>
                  <a:lnTo>
                    <a:pt x="203" y="83"/>
                  </a:lnTo>
                  <a:lnTo>
                    <a:pt x="198" y="72"/>
                  </a:lnTo>
                  <a:lnTo>
                    <a:pt x="194" y="63"/>
                  </a:lnTo>
                  <a:lnTo>
                    <a:pt x="188" y="54"/>
                  </a:lnTo>
                  <a:lnTo>
                    <a:pt x="182" y="47"/>
                  </a:lnTo>
                  <a:lnTo>
                    <a:pt x="182" y="47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47">
              <a:extLst>
                <a:ext uri="{FF2B5EF4-FFF2-40B4-BE49-F238E27FC236}">
                  <a16:creationId xmlns:a16="http://schemas.microsoft.com/office/drawing/2014/main" id="{37369471-376A-40DC-B853-614FBEA3A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1097" y="1662215"/>
              <a:ext cx="37405" cy="27752"/>
            </a:xfrm>
            <a:custGeom>
              <a:avLst/>
              <a:gdLst>
                <a:gd name="T0" fmla="*/ 29 w 31"/>
                <a:gd name="T1" fmla="*/ 3 h 23"/>
                <a:gd name="T2" fmla="*/ 29 w 31"/>
                <a:gd name="T3" fmla="*/ 3 h 23"/>
                <a:gd name="T4" fmla="*/ 31 w 31"/>
                <a:gd name="T5" fmla="*/ 10 h 23"/>
                <a:gd name="T6" fmla="*/ 29 w 31"/>
                <a:gd name="T7" fmla="*/ 16 h 23"/>
                <a:gd name="T8" fmla="*/ 25 w 31"/>
                <a:gd name="T9" fmla="*/ 20 h 23"/>
                <a:gd name="T10" fmla="*/ 21 w 31"/>
                <a:gd name="T11" fmla="*/ 22 h 23"/>
                <a:gd name="T12" fmla="*/ 16 w 31"/>
                <a:gd name="T13" fmla="*/ 23 h 23"/>
                <a:gd name="T14" fmla="*/ 10 w 31"/>
                <a:gd name="T15" fmla="*/ 22 h 23"/>
                <a:gd name="T16" fmla="*/ 5 w 31"/>
                <a:gd name="T17" fmla="*/ 20 h 23"/>
                <a:gd name="T18" fmla="*/ 2 w 31"/>
                <a:gd name="T19" fmla="*/ 17 h 23"/>
                <a:gd name="T20" fmla="*/ 2 w 31"/>
                <a:gd name="T21" fmla="*/ 17 h 23"/>
                <a:gd name="T22" fmla="*/ 0 w 31"/>
                <a:gd name="T23" fmla="*/ 11 h 23"/>
                <a:gd name="T24" fmla="*/ 2 w 31"/>
                <a:gd name="T25" fmla="*/ 6 h 23"/>
                <a:gd name="T26" fmla="*/ 5 w 31"/>
                <a:gd name="T27" fmla="*/ 3 h 23"/>
                <a:gd name="T28" fmla="*/ 9 w 31"/>
                <a:gd name="T29" fmla="*/ 1 h 23"/>
                <a:gd name="T30" fmla="*/ 15 w 31"/>
                <a:gd name="T31" fmla="*/ 0 h 23"/>
                <a:gd name="T32" fmla="*/ 19 w 31"/>
                <a:gd name="T33" fmla="*/ 0 h 23"/>
                <a:gd name="T34" fmla="*/ 25 w 31"/>
                <a:gd name="T35" fmla="*/ 1 h 23"/>
                <a:gd name="T36" fmla="*/ 29 w 31"/>
                <a:gd name="T37" fmla="*/ 3 h 23"/>
                <a:gd name="T38" fmla="*/ 29 w 31"/>
                <a:gd name="T3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" h="23">
                  <a:moveTo>
                    <a:pt x="29" y="3"/>
                  </a:moveTo>
                  <a:lnTo>
                    <a:pt x="29" y="3"/>
                  </a:lnTo>
                  <a:lnTo>
                    <a:pt x="31" y="10"/>
                  </a:lnTo>
                  <a:lnTo>
                    <a:pt x="29" y="16"/>
                  </a:lnTo>
                  <a:lnTo>
                    <a:pt x="25" y="20"/>
                  </a:lnTo>
                  <a:lnTo>
                    <a:pt x="21" y="22"/>
                  </a:lnTo>
                  <a:lnTo>
                    <a:pt x="16" y="23"/>
                  </a:lnTo>
                  <a:lnTo>
                    <a:pt x="10" y="22"/>
                  </a:lnTo>
                  <a:lnTo>
                    <a:pt x="5" y="20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2" y="6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5" y="1"/>
                  </a:lnTo>
                  <a:lnTo>
                    <a:pt x="29" y="3"/>
                  </a:lnTo>
                  <a:lnTo>
                    <a:pt x="29" y="3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8">
              <a:extLst>
                <a:ext uri="{FF2B5EF4-FFF2-40B4-BE49-F238E27FC236}">
                  <a16:creationId xmlns:a16="http://schemas.microsoft.com/office/drawing/2014/main" id="{7D62DEE7-E2F3-43C0-8633-E8D5590A2A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94240" y="1670662"/>
              <a:ext cx="199088" cy="180988"/>
            </a:xfrm>
            <a:custGeom>
              <a:avLst/>
              <a:gdLst>
                <a:gd name="T0" fmla="*/ 42 w 165"/>
                <a:gd name="T1" fmla="*/ 150 h 150"/>
                <a:gd name="T2" fmla="*/ 29 w 165"/>
                <a:gd name="T3" fmla="*/ 144 h 150"/>
                <a:gd name="T4" fmla="*/ 12 w 165"/>
                <a:gd name="T5" fmla="*/ 124 h 150"/>
                <a:gd name="T6" fmla="*/ 1 w 165"/>
                <a:gd name="T7" fmla="*/ 95 h 150"/>
                <a:gd name="T8" fmla="*/ 1 w 165"/>
                <a:gd name="T9" fmla="*/ 63 h 150"/>
                <a:gd name="T10" fmla="*/ 6 w 165"/>
                <a:gd name="T11" fmla="*/ 47 h 150"/>
                <a:gd name="T12" fmla="*/ 20 w 165"/>
                <a:gd name="T13" fmla="*/ 44 h 150"/>
                <a:gd name="T14" fmla="*/ 25 w 165"/>
                <a:gd name="T15" fmla="*/ 29 h 150"/>
                <a:gd name="T16" fmla="*/ 41 w 165"/>
                <a:gd name="T17" fmla="*/ 10 h 150"/>
                <a:gd name="T18" fmla="*/ 61 w 165"/>
                <a:gd name="T19" fmla="*/ 1 h 150"/>
                <a:gd name="T20" fmla="*/ 86 w 165"/>
                <a:gd name="T21" fmla="*/ 0 h 150"/>
                <a:gd name="T22" fmla="*/ 111 w 165"/>
                <a:gd name="T23" fmla="*/ 6 h 150"/>
                <a:gd name="T24" fmla="*/ 134 w 165"/>
                <a:gd name="T25" fmla="*/ 19 h 150"/>
                <a:gd name="T26" fmla="*/ 151 w 165"/>
                <a:gd name="T27" fmla="*/ 38 h 150"/>
                <a:gd name="T28" fmla="*/ 163 w 165"/>
                <a:gd name="T29" fmla="*/ 60 h 150"/>
                <a:gd name="T30" fmla="*/ 165 w 165"/>
                <a:gd name="T31" fmla="*/ 71 h 150"/>
                <a:gd name="T32" fmla="*/ 163 w 165"/>
                <a:gd name="T33" fmla="*/ 80 h 150"/>
                <a:gd name="T34" fmla="*/ 159 w 165"/>
                <a:gd name="T35" fmla="*/ 95 h 150"/>
                <a:gd name="T36" fmla="*/ 157 w 165"/>
                <a:gd name="T37" fmla="*/ 105 h 150"/>
                <a:gd name="T38" fmla="*/ 160 w 165"/>
                <a:gd name="T39" fmla="*/ 111 h 150"/>
                <a:gd name="T40" fmla="*/ 149 w 165"/>
                <a:gd name="T41" fmla="*/ 121 h 150"/>
                <a:gd name="T42" fmla="*/ 134 w 165"/>
                <a:gd name="T43" fmla="*/ 138 h 150"/>
                <a:gd name="T44" fmla="*/ 121 w 165"/>
                <a:gd name="T45" fmla="*/ 147 h 150"/>
                <a:gd name="T46" fmla="*/ 112 w 165"/>
                <a:gd name="T47" fmla="*/ 150 h 150"/>
                <a:gd name="T48" fmla="*/ 95 w 165"/>
                <a:gd name="T49" fmla="*/ 150 h 150"/>
                <a:gd name="T50" fmla="*/ 67 w 165"/>
                <a:gd name="T51" fmla="*/ 146 h 150"/>
                <a:gd name="T52" fmla="*/ 49 w 165"/>
                <a:gd name="T53" fmla="*/ 147 h 150"/>
                <a:gd name="T54" fmla="*/ 42 w 165"/>
                <a:gd name="T55" fmla="*/ 150 h 150"/>
                <a:gd name="T56" fmla="*/ 95 w 165"/>
                <a:gd name="T57" fmla="*/ 52 h 150"/>
                <a:gd name="T58" fmla="*/ 96 w 165"/>
                <a:gd name="T59" fmla="*/ 57 h 150"/>
                <a:gd name="T60" fmla="*/ 108 w 165"/>
                <a:gd name="T61" fmla="*/ 58 h 150"/>
                <a:gd name="T62" fmla="*/ 109 w 165"/>
                <a:gd name="T63" fmla="*/ 63 h 150"/>
                <a:gd name="T64" fmla="*/ 109 w 165"/>
                <a:gd name="T65" fmla="*/ 74 h 150"/>
                <a:gd name="T66" fmla="*/ 114 w 165"/>
                <a:gd name="T67" fmla="*/ 74 h 150"/>
                <a:gd name="T68" fmla="*/ 118 w 165"/>
                <a:gd name="T69" fmla="*/ 80 h 150"/>
                <a:gd name="T70" fmla="*/ 119 w 165"/>
                <a:gd name="T71" fmla="*/ 89 h 150"/>
                <a:gd name="T72" fmla="*/ 124 w 165"/>
                <a:gd name="T73" fmla="*/ 90 h 150"/>
                <a:gd name="T74" fmla="*/ 124 w 165"/>
                <a:gd name="T75" fmla="*/ 86 h 150"/>
                <a:gd name="T76" fmla="*/ 119 w 165"/>
                <a:gd name="T77" fmla="*/ 71 h 150"/>
                <a:gd name="T78" fmla="*/ 112 w 165"/>
                <a:gd name="T79" fmla="*/ 58 h 150"/>
                <a:gd name="T80" fmla="*/ 100 w 165"/>
                <a:gd name="T81" fmla="*/ 51 h 150"/>
                <a:gd name="T82" fmla="*/ 95 w 165"/>
                <a:gd name="T83" fmla="*/ 5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5" h="150">
                  <a:moveTo>
                    <a:pt x="42" y="150"/>
                  </a:moveTo>
                  <a:lnTo>
                    <a:pt x="42" y="150"/>
                  </a:lnTo>
                  <a:lnTo>
                    <a:pt x="36" y="147"/>
                  </a:lnTo>
                  <a:lnTo>
                    <a:pt x="29" y="144"/>
                  </a:lnTo>
                  <a:lnTo>
                    <a:pt x="19" y="136"/>
                  </a:lnTo>
                  <a:lnTo>
                    <a:pt x="12" y="124"/>
                  </a:lnTo>
                  <a:lnTo>
                    <a:pt x="4" y="111"/>
                  </a:lnTo>
                  <a:lnTo>
                    <a:pt x="1" y="95"/>
                  </a:lnTo>
                  <a:lnTo>
                    <a:pt x="0" y="79"/>
                  </a:lnTo>
                  <a:lnTo>
                    <a:pt x="1" y="63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12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5" y="29"/>
                  </a:lnTo>
                  <a:lnTo>
                    <a:pt x="32" y="19"/>
                  </a:lnTo>
                  <a:lnTo>
                    <a:pt x="41" y="10"/>
                  </a:lnTo>
                  <a:lnTo>
                    <a:pt x="51" y="4"/>
                  </a:lnTo>
                  <a:lnTo>
                    <a:pt x="61" y="1"/>
                  </a:lnTo>
                  <a:lnTo>
                    <a:pt x="74" y="0"/>
                  </a:lnTo>
                  <a:lnTo>
                    <a:pt x="86" y="0"/>
                  </a:lnTo>
                  <a:lnTo>
                    <a:pt x="99" y="3"/>
                  </a:lnTo>
                  <a:lnTo>
                    <a:pt x="111" y="6"/>
                  </a:lnTo>
                  <a:lnTo>
                    <a:pt x="122" y="12"/>
                  </a:lnTo>
                  <a:lnTo>
                    <a:pt x="134" y="19"/>
                  </a:lnTo>
                  <a:lnTo>
                    <a:pt x="144" y="28"/>
                  </a:lnTo>
                  <a:lnTo>
                    <a:pt x="151" y="38"/>
                  </a:lnTo>
                  <a:lnTo>
                    <a:pt x="159" y="48"/>
                  </a:lnTo>
                  <a:lnTo>
                    <a:pt x="163" y="60"/>
                  </a:lnTo>
                  <a:lnTo>
                    <a:pt x="165" y="71"/>
                  </a:lnTo>
                  <a:lnTo>
                    <a:pt x="165" y="71"/>
                  </a:lnTo>
                  <a:lnTo>
                    <a:pt x="165" y="76"/>
                  </a:lnTo>
                  <a:lnTo>
                    <a:pt x="163" y="80"/>
                  </a:lnTo>
                  <a:lnTo>
                    <a:pt x="160" y="89"/>
                  </a:lnTo>
                  <a:lnTo>
                    <a:pt x="159" y="95"/>
                  </a:lnTo>
                  <a:lnTo>
                    <a:pt x="157" y="99"/>
                  </a:lnTo>
                  <a:lnTo>
                    <a:pt x="157" y="105"/>
                  </a:lnTo>
                  <a:lnTo>
                    <a:pt x="160" y="111"/>
                  </a:lnTo>
                  <a:lnTo>
                    <a:pt x="160" y="111"/>
                  </a:lnTo>
                  <a:lnTo>
                    <a:pt x="154" y="115"/>
                  </a:lnTo>
                  <a:lnTo>
                    <a:pt x="149" y="121"/>
                  </a:lnTo>
                  <a:lnTo>
                    <a:pt x="140" y="133"/>
                  </a:lnTo>
                  <a:lnTo>
                    <a:pt x="134" y="138"/>
                  </a:lnTo>
                  <a:lnTo>
                    <a:pt x="128" y="143"/>
                  </a:lnTo>
                  <a:lnTo>
                    <a:pt x="121" y="147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03" y="150"/>
                  </a:lnTo>
                  <a:lnTo>
                    <a:pt x="95" y="150"/>
                  </a:lnTo>
                  <a:lnTo>
                    <a:pt x="77" y="147"/>
                  </a:lnTo>
                  <a:lnTo>
                    <a:pt x="67" y="146"/>
                  </a:lnTo>
                  <a:lnTo>
                    <a:pt x="58" y="146"/>
                  </a:lnTo>
                  <a:lnTo>
                    <a:pt x="49" y="147"/>
                  </a:lnTo>
                  <a:lnTo>
                    <a:pt x="42" y="150"/>
                  </a:lnTo>
                  <a:lnTo>
                    <a:pt x="42" y="150"/>
                  </a:lnTo>
                  <a:close/>
                  <a:moveTo>
                    <a:pt x="95" y="52"/>
                  </a:moveTo>
                  <a:lnTo>
                    <a:pt x="95" y="52"/>
                  </a:lnTo>
                  <a:lnTo>
                    <a:pt x="95" y="55"/>
                  </a:lnTo>
                  <a:lnTo>
                    <a:pt x="96" y="57"/>
                  </a:lnTo>
                  <a:lnTo>
                    <a:pt x="102" y="58"/>
                  </a:lnTo>
                  <a:lnTo>
                    <a:pt x="108" y="58"/>
                  </a:lnTo>
                  <a:lnTo>
                    <a:pt x="109" y="60"/>
                  </a:lnTo>
                  <a:lnTo>
                    <a:pt x="109" y="63"/>
                  </a:lnTo>
                  <a:lnTo>
                    <a:pt x="109" y="63"/>
                  </a:lnTo>
                  <a:lnTo>
                    <a:pt x="109" y="74"/>
                  </a:lnTo>
                  <a:lnTo>
                    <a:pt x="109" y="74"/>
                  </a:lnTo>
                  <a:lnTo>
                    <a:pt x="114" y="74"/>
                  </a:lnTo>
                  <a:lnTo>
                    <a:pt x="116" y="77"/>
                  </a:lnTo>
                  <a:lnTo>
                    <a:pt x="118" y="80"/>
                  </a:lnTo>
                  <a:lnTo>
                    <a:pt x="118" y="83"/>
                  </a:lnTo>
                  <a:lnTo>
                    <a:pt x="119" y="89"/>
                  </a:lnTo>
                  <a:lnTo>
                    <a:pt x="121" y="90"/>
                  </a:lnTo>
                  <a:lnTo>
                    <a:pt x="124" y="90"/>
                  </a:lnTo>
                  <a:lnTo>
                    <a:pt x="124" y="90"/>
                  </a:lnTo>
                  <a:lnTo>
                    <a:pt x="124" y="86"/>
                  </a:lnTo>
                  <a:lnTo>
                    <a:pt x="122" y="79"/>
                  </a:lnTo>
                  <a:lnTo>
                    <a:pt x="119" y="71"/>
                  </a:lnTo>
                  <a:lnTo>
                    <a:pt x="116" y="64"/>
                  </a:lnTo>
                  <a:lnTo>
                    <a:pt x="112" y="58"/>
                  </a:lnTo>
                  <a:lnTo>
                    <a:pt x="106" y="54"/>
                  </a:lnTo>
                  <a:lnTo>
                    <a:pt x="100" y="51"/>
                  </a:lnTo>
                  <a:lnTo>
                    <a:pt x="95" y="52"/>
                  </a:lnTo>
                  <a:lnTo>
                    <a:pt x="95" y="52"/>
                  </a:lnTo>
                  <a:close/>
                </a:path>
              </a:pathLst>
            </a:custGeom>
            <a:solidFill>
              <a:srgbClr val="11703C"/>
            </a:solidFill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22">
              <a:extLst>
                <a:ext uri="{FF2B5EF4-FFF2-40B4-BE49-F238E27FC236}">
                  <a16:creationId xmlns:a16="http://schemas.microsoft.com/office/drawing/2014/main" id="{7ECA64CD-D27F-4277-951B-ADB062913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5335" y="1850443"/>
              <a:ext cx="42231" cy="38611"/>
            </a:xfrm>
            <a:custGeom>
              <a:avLst/>
              <a:gdLst>
                <a:gd name="T0" fmla="*/ 32 w 35"/>
                <a:gd name="T1" fmla="*/ 1 h 32"/>
                <a:gd name="T2" fmla="*/ 32 w 35"/>
                <a:gd name="T3" fmla="*/ 1 h 32"/>
                <a:gd name="T4" fmla="*/ 34 w 35"/>
                <a:gd name="T5" fmla="*/ 7 h 32"/>
                <a:gd name="T6" fmla="*/ 35 w 35"/>
                <a:gd name="T7" fmla="*/ 11 h 32"/>
                <a:gd name="T8" fmla="*/ 35 w 35"/>
                <a:gd name="T9" fmla="*/ 16 h 32"/>
                <a:gd name="T10" fmla="*/ 34 w 35"/>
                <a:gd name="T11" fmla="*/ 20 h 32"/>
                <a:gd name="T12" fmla="*/ 32 w 35"/>
                <a:gd name="T13" fmla="*/ 24 h 32"/>
                <a:gd name="T14" fmla="*/ 29 w 35"/>
                <a:gd name="T15" fmla="*/ 27 h 32"/>
                <a:gd name="T16" fmla="*/ 23 w 35"/>
                <a:gd name="T17" fmla="*/ 30 h 32"/>
                <a:gd name="T18" fmla="*/ 16 w 35"/>
                <a:gd name="T19" fmla="*/ 32 h 32"/>
                <a:gd name="T20" fmla="*/ 9 w 35"/>
                <a:gd name="T21" fmla="*/ 30 h 32"/>
                <a:gd name="T22" fmla="*/ 6 w 35"/>
                <a:gd name="T23" fmla="*/ 27 h 32"/>
                <a:gd name="T24" fmla="*/ 3 w 35"/>
                <a:gd name="T25" fmla="*/ 26 h 32"/>
                <a:gd name="T26" fmla="*/ 2 w 35"/>
                <a:gd name="T27" fmla="*/ 22 h 32"/>
                <a:gd name="T28" fmla="*/ 0 w 35"/>
                <a:gd name="T29" fmla="*/ 17 h 32"/>
                <a:gd name="T30" fmla="*/ 0 w 35"/>
                <a:gd name="T31" fmla="*/ 17 h 32"/>
                <a:gd name="T32" fmla="*/ 2 w 35"/>
                <a:gd name="T33" fmla="*/ 13 h 32"/>
                <a:gd name="T34" fmla="*/ 3 w 35"/>
                <a:gd name="T35" fmla="*/ 8 h 32"/>
                <a:gd name="T36" fmla="*/ 6 w 35"/>
                <a:gd name="T37" fmla="*/ 5 h 32"/>
                <a:gd name="T38" fmla="*/ 10 w 35"/>
                <a:gd name="T39" fmla="*/ 3 h 32"/>
                <a:gd name="T40" fmla="*/ 15 w 35"/>
                <a:gd name="T41" fmla="*/ 0 h 32"/>
                <a:gd name="T42" fmla="*/ 20 w 35"/>
                <a:gd name="T43" fmla="*/ 0 h 32"/>
                <a:gd name="T44" fmla="*/ 25 w 35"/>
                <a:gd name="T45" fmla="*/ 0 h 32"/>
                <a:gd name="T46" fmla="*/ 32 w 35"/>
                <a:gd name="T47" fmla="*/ 1 h 32"/>
                <a:gd name="T48" fmla="*/ 32 w 35"/>
                <a:gd name="T49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2">
                  <a:moveTo>
                    <a:pt x="32" y="1"/>
                  </a:moveTo>
                  <a:lnTo>
                    <a:pt x="32" y="1"/>
                  </a:lnTo>
                  <a:lnTo>
                    <a:pt x="34" y="7"/>
                  </a:lnTo>
                  <a:lnTo>
                    <a:pt x="35" y="11"/>
                  </a:lnTo>
                  <a:lnTo>
                    <a:pt x="35" y="16"/>
                  </a:lnTo>
                  <a:lnTo>
                    <a:pt x="34" y="20"/>
                  </a:lnTo>
                  <a:lnTo>
                    <a:pt x="32" y="24"/>
                  </a:lnTo>
                  <a:lnTo>
                    <a:pt x="29" y="27"/>
                  </a:lnTo>
                  <a:lnTo>
                    <a:pt x="23" y="30"/>
                  </a:lnTo>
                  <a:lnTo>
                    <a:pt x="16" y="32"/>
                  </a:lnTo>
                  <a:lnTo>
                    <a:pt x="9" y="30"/>
                  </a:lnTo>
                  <a:lnTo>
                    <a:pt x="6" y="27"/>
                  </a:lnTo>
                  <a:lnTo>
                    <a:pt x="3" y="26"/>
                  </a:lnTo>
                  <a:lnTo>
                    <a:pt x="2" y="2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2" y="13"/>
                  </a:lnTo>
                  <a:lnTo>
                    <a:pt x="3" y="8"/>
                  </a:lnTo>
                  <a:lnTo>
                    <a:pt x="6" y="5"/>
                  </a:lnTo>
                  <a:lnTo>
                    <a:pt x="10" y="3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2" y="1"/>
                  </a:lnTo>
                  <a:lnTo>
                    <a:pt x="32" y="1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7428A8A-CE0E-433C-86D3-D74A01F9007D}"/>
              </a:ext>
            </a:extLst>
          </p:cNvPr>
          <p:cNvGrpSpPr/>
          <p:nvPr/>
        </p:nvGrpSpPr>
        <p:grpSpPr>
          <a:xfrm>
            <a:off x="1822777" y="4676359"/>
            <a:ext cx="707438" cy="669923"/>
            <a:chOff x="-2922588" y="2957512"/>
            <a:chExt cx="419100" cy="396875"/>
          </a:xfrm>
          <a:solidFill>
            <a:schemeClr val="accent2"/>
          </a:solidFill>
        </p:grpSpPr>
        <p:sp>
          <p:nvSpPr>
            <p:cNvPr id="45" name="Freeform 1002">
              <a:extLst>
                <a:ext uri="{FF2B5EF4-FFF2-40B4-BE49-F238E27FC236}">
                  <a16:creationId xmlns:a16="http://schemas.microsoft.com/office/drawing/2014/main" id="{0A9A59B5-C581-448B-9D0E-9B0952A5B3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54313" y="3167062"/>
              <a:ext cx="63500" cy="53975"/>
            </a:xfrm>
            <a:custGeom>
              <a:avLst/>
              <a:gdLst>
                <a:gd name="T0" fmla="*/ 16 w 40"/>
                <a:gd name="T1" fmla="*/ 0 h 34"/>
                <a:gd name="T2" fmla="*/ 16 w 40"/>
                <a:gd name="T3" fmla="*/ 0 h 34"/>
                <a:gd name="T4" fmla="*/ 24 w 40"/>
                <a:gd name="T5" fmla="*/ 0 h 34"/>
                <a:gd name="T6" fmla="*/ 32 w 40"/>
                <a:gd name="T7" fmla="*/ 4 h 34"/>
                <a:gd name="T8" fmla="*/ 32 w 40"/>
                <a:gd name="T9" fmla="*/ 4 h 34"/>
                <a:gd name="T10" fmla="*/ 38 w 40"/>
                <a:gd name="T11" fmla="*/ 10 h 34"/>
                <a:gd name="T12" fmla="*/ 40 w 40"/>
                <a:gd name="T13" fmla="*/ 14 h 34"/>
                <a:gd name="T14" fmla="*/ 40 w 40"/>
                <a:gd name="T15" fmla="*/ 18 h 34"/>
                <a:gd name="T16" fmla="*/ 40 w 40"/>
                <a:gd name="T17" fmla="*/ 18 h 34"/>
                <a:gd name="T18" fmla="*/ 38 w 40"/>
                <a:gd name="T19" fmla="*/ 24 h 34"/>
                <a:gd name="T20" fmla="*/ 34 w 40"/>
                <a:gd name="T21" fmla="*/ 28 h 34"/>
                <a:gd name="T22" fmla="*/ 28 w 40"/>
                <a:gd name="T23" fmla="*/ 30 h 34"/>
                <a:gd name="T24" fmla="*/ 22 w 40"/>
                <a:gd name="T25" fmla="*/ 32 h 34"/>
                <a:gd name="T26" fmla="*/ 16 w 40"/>
                <a:gd name="T27" fmla="*/ 34 h 34"/>
                <a:gd name="T28" fmla="*/ 10 w 40"/>
                <a:gd name="T29" fmla="*/ 32 h 34"/>
                <a:gd name="T30" fmla="*/ 4 w 40"/>
                <a:gd name="T31" fmla="*/ 30 h 34"/>
                <a:gd name="T32" fmla="*/ 2 w 40"/>
                <a:gd name="T33" fmla="*/ 26 h 34"/>
                <a:gd name="T34" fmla="*/ 2 w 40"/>
                <a:gd name="T35" fmla="*/ 26 h 34"/>
                <a:gd name="T36" fmla="*/ 2 w 40"/>
                <a:gd name="T37" fmla="*/ 18 h 34"/>
                <a:gd name="T38" fmla="*/ 2 w 40"/>
                <a:gd name="T39" fmla="*/ 18 h 34"/>
                <a:gd name="T40" fmla="*/ 0 w 40"/>
                <a:gd name="T41" fmla="*/ 14 h 34"/>
                <a:gd name="T42" fmla="*/ 0 w 40"/>
                <a:gd name="T43" fmla="*/ 10 h 34"/>
                <a:gd name="T44" fmla="*/ 0 w 40"/>
                <a:gd name="T45" fmla="*/ 10 h 34"/>
                <a:gd name="T46" fmla="*/ 2 w 40"/>
                <a:gd name="T47" fmla="*/ 6 h 34"/>
                <a:gd name="T48" fmla="*/ 6 w 40"/>
                <a:gd name="T49" fmla="*/ 4 h 34"/>
                <a:gd name="T50" fmla="*/ 10 w 40"/>
                <a:gd name="T51" fmla="*/ 0 h 34"/>
                <a:gd name="T52" fmla="*/ 16 w 40"/>
                <a:gd name="T53" fmla="*/ 0 h 34"/>
                <a:gd name="T54" fmla="*/ 16 w 40"/>
                <a:gd name="T55" fmla="*/ 0 h 34"/>
                <a:gd name="T56" fmla="*/ 22 w 40"/>
                <a:gd name="T57" fmla="*/ 20 h 34"/>
                <a:gd name="T58" fmla="*/ 22 w 40"/>
                <a:gd name="T59" fmla="*/ 20 h 34"/>
                <a:gd name="T60" fmla="*/ 26 w 40"/>
                <a:gd name="T61" fmla="*/ 20 h 34"/>
                <a:gd name="T62" fmla="*/ 28 w 40"/>
                <a:gd name="T63" fmla="*/ 16 h 34"/>
                <a:gd name="T64" fmla="*/ 28 w 40"/>
                <a:gd name="T65" fmla="*/ 16 h 34"/>
                <a:gd name="T66" fmla="*/ 26 w 40"/>
                <a:gd name="T67" fmla="*/ 14 h 34"/>
                <a:gd name="T68" fmla="*/ 24 w 40"/>
                <a:gd name="T69" fmla="*/ 12 h 34"/>
                <a:gd name="T70" fmla="*/ 24 w 40"/>
                <a:gd name="T71" fmla="*/ 12 h 34"/>
                <a:gd name="T72" fmla="*/ 22 w 40"/>
                <a:gd name="T73" fmla="*/ 16 h 34"/>
                <a:gd name="T74" fmla="*/ 22 w 40"/>
                <a:gd name="T75" fmla="*/ 20 h 34"/>
                <a:gd name="T76" fmla="*/ 22 w 40"/>
                <a:gd name="T77" fmla="*/ 20 h 34"/>
                <a:gd name="T78" fmla="*/ 14 w 40"/>
                <a:gd name="T79" fmla="*/ 22 h 34"/>
                <a:gd name="T80" fmla="*/ 14 w 40"/>
                <a:gd name="T81" fmla="*/ 22 h 34"/>
                <a:gd name="T82" fmla="*/ 18 w 40"/>
                <a:gd name="T83" fmla="*/ 22 h 34"/>
                <a:gd name="T84" fmla="*/ 18 w 40"/>
                <a:gd name="T85" fmla="*/ 22 h 34"/>
                <a:gd name="T86" fmla="*/ 18 w 40"/>
                <a:gd name="T87" fmla="*/ 20 h 34"/>
                <a:gd name="T88" fmla="*/ 16 w 40"/>
                <a:gd name="T89" fmla="*/ 20 h 34"/>
                <a:gd name="T90" fmla="*/ 16 w 40"/>
                <a:gd name="T91" fmla="*/ 20 h 34"/>
                <a:gd name="T92" fmla="*/ 14 w 40"/>
                <a:gd name="T93" fmla="*/ 20 h 34"/>
                <a:gd name="T94" fmla="*/ 14 w 40"/>
                <a:gd name="T95" fmla="*/ 22 h 34"/>
                <a:gd name="T96" fmla="*/ 14 w 40"/>
                <a:gd name="T97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34">
                  <a:moveTo>
                    <a:pt x="16" y="0"/>
                  </a:moveTo>
                  <a:lnTo>
                    <a:pt x="16" y="0"/>
                  </a:lnTo>
                  <a:lnTo>
                    <a:pt x="24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8" y="10"/>
                  </a:lnTo>
                  <a:lnTo>
                    <a:pt x="40" y="14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8" y="24"/>
                  </a:lnTo>
                  <a:lnTo>
                    <a:pt x="34" y="28"/>
                  </a:lnTo>
                  <a:lnTo>
                    <a:pt x="28" y="30"/>
                  </a:lnTo>
                  <a:lnTo>
                    <a:pt x="22" y="32"/>
                  </a:lnTo>
                  <a:lnTo>
                    <a:pt x="16" y="34"/>
                  </a:lnTo>
                  <a:lnTo>
                    <a:pt x="10" y="32"/>
                  </a:lnTo>
                  <a:lnTo>
                    <a:pt x="4" y="30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6" y="0"/>
                  </a:lnTo>
                  <a:close/>
                  <a:moveTo>
                    <a:pt x="22" y="20"/>
                  </a:moveTo>
                  <a:lnTo>
                    <a:pt x="22" y="20"/>
                  </a:lnTo>
                  <a:lnTo>
                    <a:pt x="26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20"/>
                  </a:lnTo>
                  <a:lnTo>
                    <a:pt x="22" y="20"/>
                  </a:lnTo>
                  <a:close/>
                  <a:moveTo>
                    <a:pt x="14" y="22"/>
                  </a:moveTo>
                  <a:lnTo>
                    <a:pt x="14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003">
              <a:extLst>
                <a:ext uri="{FF2B5EF4-FFF2-40B4-BE49-F238E27FC236}">
                  <a16:creationId xmlns:a16="http://schemas.microsoft.com/office/drawing/2014/main" id="{9A3ACE9D-5CB5-4603-B5E9-A2EE0F35C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22588" y="2957512"/>
              <a:ext cx="419100" cy="396875"/>
            </a:xfrm>
            <a:custGeom>
              <a:avLst/>
              <a:gdLst>
                <a:gd name="T0" fmla="*/ 160 w 264"/>
                <a:gd name="T1" fmla="*/ 194 h 250"/>
                <a:gd name="T2" fmla="*/ 132 w 264"/>
                <a:gd name="T3" fmla="*/ 234 h 250"/>
                <a:gd name="T4" fmla="*/ 106 w 264"/>
                <a:gd name="T5" fmla="*/ 248 h 250"/>
                <a:gd name="T6" fmla="*/ 86 w 264"/>
                <a:gd name="T7" fmla="*/ 248 h 250"/>
                <a:gd name="T8" fmla="*/ 84 w 264"/>
                <a:gd name="T9" fmla="*/ 238 h 250"/>
                <a:gd name="T10" fmla="*/ 106 w 264"/>
                <a:gd name="T11" fmla="*/ 220 h 250"/>
                <a:gd name="T12" fmla="*/ 84 w 264"/>
                <a:gd name="T13" fmla="*/ 190 h 250"/>
                <a:gd name="T14" fmla="*/ 38 w 264"/>
                <a:gd name="T15" fmla="*/ 176 h 250"/>
                <a:gd name="T16" fmla="*/ 16 w 264"/>
                <a:gd name="T17" fmla="*/ 158 h 250"/>
                <a:gd name="T18" fmla="*/ 6 w 264"/>
                <a:gd name="T19" fmla="*/ 146 h 250"/>
                <a:gd name="T20" fmla="*/ 0 w 264"/>
                <a:gd name="T21" fmla="*/ 116 h 250"/>
                <a:gd name="T22" fmla="*/ 4 w 264"/>
                <a:gd name="T23" fmla="*/ 82 h 250"/>
                <a:gd name="T24" fmla="*/ 20 w 264"/>
                <a:gd name="T25" fmla="*/ 54 h 250"/>
                <a:gd name="T26" fmla="*/ 48 w 264"/>
                <a:gd name="T27" fmla="*/ 28 h 250"/>
                <a:gd name="T28" fmla="*/ 66 w 264"/>
                <a:gd name="T29" fmla="*/ 18 h 250"/>
                <a:gd name="T30" fmla="*/ 84 w 264"/>
                <a:gd name="T31" fmla="*/ 12 h 250"/>
                <a:gd name="T32" fmla="*/ 136 w 264"/>
                <a:gd name="T33" fmla="*/ 0 h 250"/>
                <a:gd name="T34" fmla="*/ 160 w 264"/>
                <a:gd name="T35" fmla="*/ 0 h 250"/>
                <a:gd name="T36" fmla="*/ 212 w 264"/>
                <a:gd name="T37" fmla="*/ 12 h 250"/>
                <a:gd name="T38" fmla="*/ 222 w 264"/>
                <a:gd name="T39" fmla="*/ 20 h 250"/>
                <a:gd name="T40" fmla="*/ 248 w 264"/>
                <a:gd name="T41" fmla="*/ 46 h 250"/>
                <a:gd name="T42" fmla="*/ 262 w 264"/>
                <a:gd name="T43" fmla="*/ 78 h 250"/>
                <a:gd name="T44" fmla="*/ 260 w 264"/>
                <a:gd name="T45" fmla="*/ 120 h 250"/>
                <a:gd name="T46" fmla="*/ 252 w 264"/>
                <a:gd name="T47" fmla="*/ 142 h 250"/>
                <a:gd name="T48" fmla="*/ 240 w 264"/>
                <a:gd name="T49" fmla="*/ 158 h 250"/>
                <a:gd name="T50" fmla="*/ 234 w 264"/>
                <a:gd name="T51" fmla="*/ 162 h 250"/>
                <a:gd name="T52" fmla="*/ 228 w 264"/>
                <a:gd name="T53" fmla="*/ 166 h 250"/>
                <a:gd name="T54" fmla="*/ 172 w 264"/>
                <a:gd name="T55" fmla="*/ 190 h 250"/>
                <a:gd name="T56" fmla="*/ 170 w 264"/>
                <a:gd name="T57" fmla="*/ 190 h 250"/>
                <a:gd name="T58" fmla="*/ 156 w 264"/>
                <a:gd name="T59" fmla="*/ 180 h 250"/>
                <a:gd name="T60" fmla="*/ 172 w 264"/>
                <a:gd name="T61" fmla="*/ 178 h 250"/>
                <a:gd name="T62" fmla="*/ 204 w 264"/>
                <a:gd name="T63" fmla="*/ 166 h 250"/>
                <a:gd name="T64" fmla="*/ 228 w 264"/>
                <a:gd name="T65" fmla="*/ 150 h 250"/>
                <a:gd name="T66" fmla="*/ 246 w 264"/>
                <a:gd name="T67" fmla="*/ 124 h 250"/>
                <a:gd name="T68" fmla="*/ 250 w 264"/>
                <a:gd name="T69" fmla="*/ 104 h 250"/>
                <a:gd name="T70" fmla="*/ 238 w 264"/>
                <a:gd name="T71" fmla="*/ 54 h 250"/>
                <a:gd name="T72" fmla="*/ 202 w 264"/>
                <a:gd name="T73" fmla="*/ 22 h 250"/>
                <a:gd name="T74" fmla="*/ 132 w 264"/>
                <a:gd name="T75" fmla="*/ 12 h 250"/>
                <a:gd name="T76" fmla="*/ 90 w 264"/>
                <a:gd name="T77" fmla="*/ 22 h 250"/>
                <a:gd name="T78" fmla="*/ 44 w 264"/>
                <a:gd name="T79" fmla="*/ 46 h 250"/>
                <a:gd name="T80" fmla="*/ 26 w 264"/>
                <a:gd name="T81" fmla="*/ 66 h 250"/>
                <a:gd name="T82" fmla="*/ 14 w 264"/>
                <a:gd name="T83" fmla="*/ 90 h 250"/>
                <a:gd name="T84" fmla="*/ 20 w 264"/>
                <a:gd name="T85" fmla="*/ 146 h 250"/>
                <a:gd name="T86" fmla="*/ 56 w 264"/>
                <a:gd name="T87" fmla="*/ 170 h 250"/>
                <a:gd name="T88" fmla="*/ 86 w 264"/>
                <a:gd name="T89" fmla="*/ 180 h 250"/>
                <a:gd name="T90" fmla="*/ 116 w 264"/>
                <a:gd name="T91" fmla="*/ 184 h 250"/>
                <a:gd name="T92" fmla="*/ 122 w 264"/>
                <a:gd name="T93" fmla="*/ 210 h 250"/>
                <a:gd name="T94" fmla="*/ 126 w 264"/>
                <a:gd name="T95" fmla="*/ 224 h 250"/>
                <a:gd name="T96" fmla="*/ 142 w 264"/>
                <a:gd name="T97" fmla="*/ 202 h 250"/>
                <a:gd name="T98" fmla="*/ 150 w 264"/>
                <a:gd name="T99" fmla="*/ 18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4" h="250">
                  <a:moveTo>
                    <a:pt x="160" y="192"/>
                  </a:moveTo>
                  <a:lnTo>
                    <a:pt x="160" y="192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52" y="210"/>
                  </a:lnTo>
                  <a:lnTo>
                    <a:pt x="144" y="222"/>
                  </a:lnTo>
                  <a:lnTo>
                    <a:pt x="132" y="234"/>
                  </a:lnTo>
                  <a:lnTo>
                    <a:pt x="126" y="238"/>
                  </a:lnTo>
                  <a:lnTo>
                    <a:pt x="118" y="242"/>
                  </a:lnTo>
                  <a:lnTo>
                    <a:pt x="118" y="242"/>
                  </a:lnTo>
                  <a:lnTo>
                    <a:pt x="106" y="248"/>
                  </a:lnTo>
                  <a:lnTo>
                    <a:pt x="98" y="250"/>
                  </a:lnTo>
                  <a:lnTo>
                    <a:pt x="90" y="250"/>
                  </a:lnTo>
                  <a:lnTo>
                    <a:pt x="90" y="250"/>
                  </a:lnTo>
                  <a:lnTo>
                    <a:pt x="86" y="248"/>
                  </a:lnTo>
                  <a:lnTo>
                    <a:pt x="82" y="246"/>
                  </a:lnTo>
                  <a:lnTo>
                    <a:pt x="82" y="242"/>
                  </a:lnTo>
                  <a:lnTo>
                    <a:pt x="84" y="238"/>
                  </a:lnTo>
                  <a:lnTo>
                    <a:pt x="84" y="238"/>
                  </a:lnTo>
                  <a:lnTo>
                    <a:pt x="88" y="238"/>
                  </a:lnTo>
                  <a:lnTo>
                    <a:pt x="88" y="238"/>
                  </a:lnTo>
                  <a:lnTo>
                    <a:pt x="98" y="232"/>
                  </a:lnTo>
                  <a:lnTo>
                    <a:pt x="106" y="220"/>
                  </a:lnTo>
                  <a:lnTo>
                    <a:pt x="110" y="208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84" y="190"/>
                  </a:lnTo>
                  <a:lnTo>
                    <a:pt x="62" y="184"/>
                  </a:lnTo>
                  <a:lnTo>
                    <a:pt x="62" y="184"/>
                  </a:lnTo>
                  <a:lnTo>
                    <a:pt x="46" y="180"/>
                  </a:lnTo>
                  <a:lnTo>
                    <a:pt x="38" y="176"/>
                  </a:lnTo>
                  <a:lnTo>
                    <a:pt x="30" y="172"/>
                  </a:lnTo>
                  <a:lnTo>
                    <a:pt x="30" y="172"/>
                  </a:lnTo>
                  <a:lnTo>
                    <a:pt x="22" y="166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0" y="152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4" y="138"/>
                  </a:lnTo>
                  <a:lnTo>
                    <a:pt x="4" y="138"/>
                  </a:lnTo>
                  <a:lnTo>
                    <a:pt x="2" y="128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06"/>
                  </a:lnTo>
                  <a:lnTo>
                    <a:pt x="2" y="94"/>
                  </a:lnTo>
                  <a:lnTo>
                    <a:pt x="4" y="8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12" y="62"/>
                  </a:lnTo>
                  <a:lnTo>
                    <a:pt x="20" y="54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44" y="32"/>
                  </a:lnTo>
                  <a:lnTo>
                    <a:pt x="48" y="28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8" y="22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74" y="14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110" y="4"/>
                  </a:lnTo>
                  <a:lnTo>
                    <a:pt x="122" y="2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46" y="2"/>
                  </a:lnTo>
                  <a:lnTo>
                    <a:pt x="146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80" y="2"/>
                  </a:lnTo>
                  <a:lnTo>
                    <a:pt x="198" y="6"/>
                  </a:lnTo>
                  <a:lnTo>
                    <a:pt x="198" y="6"/>
                  </a:lnTo>
                  <a:lnTo>
                    <a:pt x="212" y="12"/>
                  </a:lnTo>
                  <a:lnTo>
                    <a:pt x="212" y="12"/>
                  </a:lnTo>
                  <a:lnTo>
                    <a:pt x="214" y="14"/>
                  </a:lnTo>
                  <a:lnTo>
                    <a:pt x="214" y="14"/>
                  </a:lnTo>
                  <a:lnTo>
                    <a:pt x="222" y="20"/>
                  </a:lnTo>
                  <a:lnTo>
                    <a:pt x="222" y="20"/>
                  </a:lnTo>
                  <a:lnTo>
                    <a:pt x="236" y="32"/>
                  </a:lnTo>
                  <a:lnTo>
                    <a:pt x="248" y="46"/>
                  </a:lnTo>
                  <a:lnTo>
                    <a:pt x="248" y="46"/>
                  </a:lnTo>
                  <a:lnTo>
                    <a:pt x="256" y="60"/>
                  </a:lnTo>
                  <a:lnTo>
                    <a:pt x="260" y="68"/>
                  </a:lnTo>
                  <a:lnTo>
                    <a:pt x="262" y="78"/>
                  </a:lnTo>
                  <a:lnTo>
                    <a:pt x="262" y="78"/>
                  </a:lnTo>
                  <a:lnTo>
                    <a:pt x="262" y="90"/>
                  </a:lnTo>
                  <a:lnTo>
                    <a:pt x="264" y="104"/>
                  </a:lnTo>
                  <a:lnTo>
                    <a:pt x="264" y="104"/>
                  </a:lnTo>
                  <a:lnTo>
                    <a:pt x="260" y="120"/>
                  </a:lnTo>
                  <a:lnTo>
                    <a:pt x="258" y="130"/>
                  </a:lnTo>
                  <a:lnTo>
                    <a:pt x="254" y="136"/>
                  </a:lnTo>
                  <a:lnTo>
                    <a:pt x="254" y="136"/>
                  </a:lnTo>
                  <a:lnTo>
                    <a:pt x="252" y="142"/>
                  </a:lnTo>
                  <a:lnTo>
                    <a:pt x="248" y="146"/>
                  </a:lnTo>
                  <a:lnTo>
                    <a:pt x="248" y="146"/>
                  </a:lnTo>
                  <a:lnTo>
                    <a:pt x="244" y="152"/>
                  </a:lnTo>
                  <a:lnTo>
                    <a:pt x="240" y="158"/>
                  </a:lnTo>
                  <a:lnTo>
                    <a:pt x="240" y="158"/>
                  </a:lnTo>
                  <a:lnTo>
                    <a:pt x="236" y="160"/>
                  </a:lnTo>
                  <a:lnTo>
                    <a:pt x="236" y="160"/>
                  </a:lnTo>
                  <a:lnTo>
                    <a:pt x="234" y="162"/>
                  </a:lnTo>
                  <a:lnTo>
                    <a:pt x="232" y="164"/>
                  </a:lnTo>
                  <a:lnTo>
                    <a:pt x="230" y="164"/>
                  </a:lnTo>
                  <a:lnTo>
                    <a:pt x="230" y="164"/>
                  </a:lnTo>
                  <a:lnTo>
                    <a:pt x="228" y="166"/>
                  </a:lnTo>
                  <a:lnTo>
                    <a:pt x="228" y="168"/>
                  </a:lnTo>
                  <a:lnTo>
                    <a:pt x="228" y="168"/>
                  </a:lnTo>
                  <a:lnTo>
                    <a:pt x="200" y="180"/>
                  </a:lnTo>
                  <a:lnTo>
                    <a:pt x="172" y="190"/>
                  </a:lnTo>
                  <a:lnTo>
                    <a:pt x="172" y="190"/>
                  </a:lnTo>
                  <a:lnTo>
                    <a:pt x="170" y="190"/>
                  </a:lnTo>
                  <a:lnTo>
                    <a:pt x="170" y="190"/>
                  </a:lnTo>
                  <a:lnTo>
                    <a:pt x="170" y="190"/>
                  </a:lnTo>
                  <a:lnTo>
                    <a:pt x="164" y="192"/>
                  </a:lnTo>
                  <a:lnTo>
                    <a:pt x="160" y="192"/>
                  </a:lnTo>
                  <a:lnTo>
                    <a:pt x="160" y="192"/>
                  </a:lnTo>
                  <a:close/>
                  <a:moveTo>
                    <a:pt x="156" y="180"/>
                  </a:moveTo>
                  <a:lnTo>
                    <a:pt x="156" y="180"/>
                  </a:lnTo>
                  <a:lnTo>
                    <a:pt x="162" y="180"/>
                  </a:lnTo>
                  <a:lnTo>
                    <a:pt x="162" y="180"/>
                  </a:lnTo>
                  <a:lnTo>
                    <a:pt x="172" y="178"/>
                  </a:lnTo>
                  <a:lnTo>
                    <a:pt x="184" y="174"/>
                  </a:lnTo>
                  <a:lnTo>
                    <a:pt x="194" y="170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12" y="162"/>
                  </a:lnTo>
                  <a:lnTo>
                    <a:pt x="220" y="158"/>
                  </a:lnTo>
                  <a:lnTo>
                    <a:pt x="220" y="158"/>
                  </a:lnTo>
                  <a:lnTo>
                    <a:pt x="228" y="15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42" y="132"/>
                  </a:lnTo>
                  <a:lnTo>
                    <a:pt x="246" y="124"/>
                  </a:lnTo>
                  <a:lnTo>
                    <a:pt x="246" y="124"/>
                  </a:lnTo>
                  <a:lnTo>
                    <a:pt x="248" y="120"/>
                  </a:lnTo>
                  <a:lnTo>
                    <a:pt x="248" y="120"/>
                  </a:lnTo>
                  <a:lnTo>
                    <a:pt x="250" y="104"/>
                  </a:lnTo>
                  <a:lnTo>
                    <a:pt x="250" y="86"/>
                  </a:lnTo>
                  <a:lnTo>
                    <a:pt x="250" y="86"/>
                  </a:lnTo>
                  <a:lnTo>
                    <a:pt x="246" y="68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28" y="40"/>
                  </a:lnTo>
                  <a:lnTo>
                    <a:pt x="216" y="30"/>
                  </a:lnTo>
                  <a:lnTo>
                    <a:pt x="202" y="22"/>
                  </a:lnTo>
                  <a:lnTo>
                    <a:pt x="188" y="16"/>
                  </a:lnTo>
                  <a:lnTo>
                    <a:pt x="188" y="16"/>
                  </a:lnTo>
                  <a:lnTo>
                    <a:pt x="160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90" y="22"/>
                  </a:lnTo>
                  <a:lnTo>
                    <a:pt x="74" y="28"/>
                  </a:lnTo>
                  <a:lnTo>
                    <a:pt x="58" y="3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8" y="80"/>
                  </a:lnTo>
                  <a:lnTo>
                    <a:pt x="14" y="90"/>
                  </a:lnTo>
                  <a:lnTo>
                    <a:pt x="12" y="108"/>
                  </a:lnTo>
                  <a:lnTo>
                    <a:pt x="14" y="128"/>
                  </a:lnTo>
                  <a:lnTo>
                    <a:pt x="20" y="146"/>
                  </a:lnTo>
                  <a:lnTo>
                    <a:pt x="20" y="146"/>
                  </a:lnTo>
                  <a:lnTo>
                    <a:pt x="26" y="154"/>
                  </a:lnTo>
                  <a:lnTo>
                    <a:pt x="34" y="162"/>
                  </a:lnTo>
                  <a:lnTo>
                    <a:pt x="44" y="168"/>
                  </a:lnTo>
                  <a:lnTo>
                    <a:pt x="56" y="170"/>
                  </a:lnTo>
                  <a:lnTo>
                    <a:pt x="56" y="170"/>
                  </a:lnTo>
                  <a:lnTo>
                    <a:pt x="70" y="176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98" y="180"/>
                  </a:lnTo>
                  <a:lnTo>
                    <a:pt x="110" y="180"/>
                  </a:lnTo>
                  <a:lnTo>
                    <a:pt x="110" y="180"/>
                  </a:lnTo>
                  <a:lnTo>
                    <a:pt x="116" y="184"/>
                  </a:lnTo>
                  <a:lnTo>
                    <a:pt x="120" y="188"/>
                  </a:lnTo>
                  <a:lnTo>
                    <a:pt x="120" y="188"/>
                  </a:lnTo>
                  <a:lnTo>
                    <a:pt x="122" y="198"/>
                  </a:lnTo>
                  <a:lnTo>
                    <a:pt x="122" y="210"/>
                  </a:lnTo>
                  <a:lnTo>
                    <a:pt x="116" y="228"/>
                  </a:lnTo>
                  <a:lnTo>
                    <a:pt x="116" y="228"/>
                  </a:lnTo>
                  <a:lnTo>
                    <a:pt x="122" y="226"/>
                  </a:lnTo>
                  <a:lnTo>
                    <a:pt x="126" y="224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6" y="196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50" y="184"/>
                  </a:lnTo>
                  <a:lnTo>
                    <a:pt x="156" y="180"/>
                  </a:lnTo>
                  <a:lnTo>
                    <a:pt x="156" y="180"/>
                  </a:lnTo>
                  <a:close/>
                </a:path>
              </a:pathLst>
            </a:custGeom>
            <a:grpFill/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004">
              <a:extLst>
                <a:ext uri="{FF2B5EF4-FFF2-40B4-BE49-F238E27FC236}">
                  <a16:creationId xmlns:a16="http://schemas.microsoft.com/office/drawing/2014/main" id="{351E861C-6515-4784-8806-11A27FF518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57488" y="3011487"/>
              <a:ext cx="73025" cy="142875"/>
            </a:xfrm>
            <a:custGeom>
              <a:avLst/>
              <a:gdLst>
                <a:gd name="T0" fmla="*/ 38 w 46"/>
                <a:gd name="T1" fmla="*/ 2 h 90"/>
                <a:gd name="T2" fmla="*/ 46 w 46"/>
                <a:gd name="T3" fmla="*/ 12 h 90"/>
                <a:gd name="T4" fmla="*/ 46 w 46"/>
                <a:gd name="T5" fmla="*/ 22 h 90"/>
                <a:gd name="T6" fmla="*/ 46 w 46"/>
                <a:gd name="T7" fmla="*/ 34 h 90"/>
                <a:gd name="T8" fmla="*/ 44 w 46"/>
                <a:gd name="T9" fmla="*/ 46 h 90"/>
                <a:gd name="T10" fmla="*/ 42 w 46"/>
                <a:gd name="T11" fmla="*/ 58 h 90"/>
                <a:gd name="T12" fmla="*/ 38 w 46"/>
                <a:gd name="T13" fmla="*/ 76 h 90"/>
                <a:gd name="T14" fmla="*/ 34 w 46"/>
                <a:gd name="T15" fmla="*/ 82 h 90"/>
                <a:gd name="T16" fmla="*/ 28 w 46"/>
                <a:gd name="T17" fmla="*/ 88 h 90"/>
                <a:gd name="T18" fmla="*/ 16 w 46"/>
                <a:gd name="T19" fmla="*/ 90 h 90"/>
                <a:gd name="T20" fmla="*/ 12 w 46"/>
                <a:gd name="T21" fmla="*/ 88 h 90"/>
                <a:gd name="T22" fmla="*/ 6 w 46"/>
                <a:gd name="T23" fmla="*/ 86 h 90"/>
                <a:gd name="T24" fmla="*/ 0 w 46"/>
                <a:gd name="T25" fmla="*/ 56 h 90"/>
                <a:gd name="T26" fmla="*/ 0 w 46"/>
                <a:gd name="T27" fmla="*/ 46 h 90"/>
                <a:gd name="T28" fmla="*/ 4 w 46"/>
                <a:gd name="T29" fmla="*/ 14 h 90"/>
                <a:gd name="T30" fmla="*/ 10 w 46"/>
                <a:gd name="T31" fmla="*/ 4 h 90"/>
                <a:gd name="T32" fmla="*/ 24 w 46"/>
                <a:gd name="T33" fmla="*/ 0 h 90"/>
                <a:gd name="T34" fmla="*/ 38 w 46"/>
                <a:gd name="T35" fmla="*/ 2 h 90"/>
                <a:gd name="T36" fmla="*/ 30 w 46"/>
                <a:gd name="T37" fmla="*/ 12 h 90"/>
                <a:gd name="T38" fmla="*/ 20 w 46"/>
                <a:gd name="T39" fmla="*/ 26 h 90"/>
                <a:gd name="T40" fmla="*/ 12 w 46"/>
                <a:gd name="T41" fmla="*/ 40 h 90"/>
                <a:gd name="T42" fmla="*/ 18 w 46"/>
                <a:gd name="T43" fmla="*/ 34 h 90"/>
                <a:gd name="T44" fmla="*/ 26 w 46"/>
                <a:gd name="T45" fmla="*/ 26 h 90"/>
                <a:gd name="T46" fmla="*/ 28 w 46"/>
                <a:gd name="T47" fmla="*/ 20 h 90"/>
                <a:gd name="T48" fmla="*/ 32 w 46"/>
                <a:gd name="T49" fmla="*/ 12 h 90"/>
                <a:gd name="T50" fmla="*/ 30 w 46"/>
                <a:gd name="T51" fmla="*/ 12 h 90"/>
                <a:gd name="T52" fmla="*/ 32 w 46"/>
                <a:gd name="T53" fmla="*/ 22 h 90"/>
                <a:gd name="T54" fmla="*/ 12 w 46"/>
                <a:gd name="T55" fmla="*/ 52 h 90"/>
                <a:gd name="T56" fmla="*/ 12 w 46"/>
                <a:gd name="T57" fmla="*/ 56 h 90"/>
                <a:gd name="T58" fmla="*/ 12 w 46"/>
                <a:gd name="T59" fmla="*/ 58 h 90"/>
                <a:gd name="T60" fmla="*/ 34 w 46"/>
                <a:gd name="T61" fmla="*/ 22 h 90"/>
                <a:gd name="T62" fmla="*/ 32 w 46"/>
                <a:gd name="T63" fmla="*/ 22 h 90"/>
                <a:gd name="T64" fmla="*/ 20 w 46"/>
                <a:gd name="T65" fmla="*/ 58 h 90"/>
                <a:gd name="T66" fmla="*/ 28 w 46"/>
                <a:gd name="T67" fmla="*/ 46 h 90"/>
                <a:gd name="T68" fmla="*/ 32 w 46"/>
                <a:gd name="T69" fmla="*/ 34 h 90"/>
                <a:gd name="T70" fmla="*/ 24 w 46"/>
                <a:gd name="T71" fmla="*/ 46 h 90"/>
                <a:gd name="T72" fmla="*/ 20 w 46"/>
                <a:gd name="T73" fmla="*/ 58 h 90"/>
                <a:gd name="T74" fmla="*/ 16 w 46"/>
                <a:gd name="T75" fmla="*/ 78 h 90"/>
                <a:gd name="T76" fmla="*/ 30 w 46"/>
                <a:gd name="T77" fmla="*/ 60 h 90"/>
                <a:gd name="T78" fmla="*/ 30 w 46"/>
                <a:gd name="T79" fmla="*/ 52 h 90"/>
                <a:gd name="T80" fmla="*/ 26 w 46"/>
                <a:gd name="T81" fmla="*/ 58 h 90"/>
                <a:gd name="T82" fmla="*/ 16 w 46"/>
                <a:gd name="T83" fmla="*/ 7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6" h="90">
                  <a:moveTo>
                    <a:pt x="38" y="2"/>
                  </a:moveTo>
                  <a:lnTo>
                    <a:pt x="38" y="2"/>
                  </a:lnTo>
                  <a:lnTo>
                    <a:pt x="42" y="8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34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0" y="68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4" y="8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2" y="88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2" y="88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2" y="66"/>
                  </a:lnTo>
                  <a:lnTo>
                    <a:pt x="0" y="5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2" y="24"/>
                  </a:lnTo>
                  <a:lnTo>
                    <a:pt x="4" y="1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6" y="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8" y="2"/>
                  </a:lnTo>
                  <a:lnTo>
                    <a:pt x="38" y="2"/>
                  </a:lnTo>
                  <a:close/>
                  <a:moveTo>
                    <a:pt x="30" y="12"/>
                  </a:moveTo>
                  <a:lnTo>
                    <a:pt x="30" y="12"/>
                  </a:lnTo>
                  <a:lnTo>
                    <a:pt x="20" y="2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8"/>
                  </a:lnTo>
                  <a:lnTo>
                    <a:pt x="18" y="34"/>
                  </a:lnTo>
                  <a:lnTo>
                    <a:pt x="22" y="30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8" y="20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0" y="12"/>
                  </a:lnTo>
                  <a:lnTo>
                    <a:pt x="30" y="12"/>
                  </a:lnTo>
                  <a:close/>
                  <a:moveTo>
                    <a:pt x="32" y="22"/>
                  </a:moveTo>
                  <a:lnTo>
                    <a:pt x="32" y="22"/>
                  </a:lnTo>
                  <a:lnTo>
                    <a:pt x="22" y="3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24" y="40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2" y="22"/>
                  </a:lnTo>
                  <a:lnTo>
                    <a:pt x="32" y="22"/>
                  </a:lnTo>
                  <a:close/>
                  <a:moveTo>
                    <a:pt x="20" y="58"/>
                  </a:moveTo>
                  <a:lnTo>
                    <a:pt x="20" y="58"/>
                  </a:lnTo>
                  <a:lnTo>
                    <a:pt x="28" y="46"/>
                  </a:lnTo>
                  <a:lnTo>
                    <a:pt x="30" y="40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24" y="46"/>
                  </a:lnTo>
                  <a:lnTo>
                    <a:pt x="20" y="58"/>
                  </a:lnTo>
                  <a:lnTo>
                    <a:pt x="20" y="5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24" y="68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26" y="58"/>
                  </a:lnTo>
                  <a:lnTo>
                    <a:pt x="22" y="64"/>
                  </a:lnTo>
                  <a:lnTo>
                    <a:pt x="16" y="78"/>
                  </a:lnTo>
                  <a:lnTo>
                    <a:pt x="16" y="78"/>
                  </a:lnTo>
                  <a:close/>
                </a:path>
              </a:pathLst>
            </a:custGeom>
            <a:grpFill/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434F7DD-0C5B-49A3-9497-982A2C48FD50}"/>
              </a:ext>
            </a:extLst>
          </p:cNvPr>
          <p:cNvGrpSpPr/>
          <p:nvPr/>
        </p:nvGrpSpPr>
        <p:grpSpPr>
          <a:xfrm>
            <a:off x="9664438" y="3246665"/>
            <a:ext cx="577964" cy="620254"/>
            <a:chOff x="-5138738" y="4062413"/>
            <a:chExt cx="390525" cy="419100"/>
          </a:xfrm>
          <a:solidFill>
            <a:schemeClr val="accent2"/>
          </a:solidFill>
        </p:grpSpPr>
        <p:sp>
          <p:nvSpPr>
            <p:cNvPr id="49" name="Freeform 940">
              <a:extLst>
                <a:ext uri="{FF2B5EF4-FFF2-40B4-BE49-F238E27FC236}">
                  <a16:creationId xmlns:a16="http://schemas.microsoft.com/office/drawing/2014/main" id="{B5E5183D-6E46-4CCE-8A55-C0347B0840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13313" y="4313238"/>
              <a:ext cx="161925" cy="168275"/>
            </a:xfrm>
            <a:custGeom>
              <a:avLst/>
              <a:gdLst>
                <a:gd name="T0" fmla="*/ 68 w 102"/>
                <a:gd name="T1" fmla="*/ 6 h 106"/>
                <a:gd name="T2" fmla="*/ 68 w 102"/>
                <a:gd name="T3" fmla="*/ 36 h 106"/>
                <a:gd name="T4" fmla="*/ 98 w 102"/>
                <a:gd name="T5" fmla="*/ 32 h 106"/>
                <a:gd name="T6" fmla="*/ 102 w 102"/>
                <a:gd name="T7" fmla="*/ 48 h 106"/>
                <a:gd name="T8" fmla="*/ 98 w 102"/>
                <a:gd name="T9" fmla="*/ 64 h 106"/>
                <a:gd name="T10" fmla="*/ 84 w 102"/>
                <a:gd name="T11" fmla="*/ 68 h 106"/>
                <a:gd name="T12" fmla="*/ 70 w 102"/>
                <a:gd name="T13" fmla="*/ 78 h 106"/>
                <a:gd name="T14" fmla="*/ 70 w 102"/>
                <a:gd name="T15" fmla="*/ 102 h 106"/>
                <a:gd name="T16" fmla="*/ 56 w 102"/>
                <a:gd name="T17" fmla="*/ 104 h 106"/>
                <a:gd name="T18" fmla="*/ 30 w 102"/>
                <a:gd name="T19" fmla="*/ 102 h 106"/>
                <a:gd name="T20" fmla="*/ 32 w 102"/>
                <a:gd name="T21" fmla="*/ 78 h 106"/>
                <a:gd name="T22" fmla="*/ 12 w 102"/>
                <a:gd name="T23" fmla="*/ 74 h 106"/>
                <a:gd name="T24" fmla="*/ 0 w 102"/>
                <a:gd name="T25" fmla="*/ 68 h 106"/>
                <a:gd name="T26" fmla="*/ 4 w 102"/>
                <a:gd name="T27" fmla="*/ 46 h 106"/>
                <a:gd name="T28" fmla="*/ 28 w 102"/>
                <a:gd name="T29" fmla="*/ 38 h 106"/>
                <a:gd name="T30" fmla="*/ 32 w 102"/>
                <a:gd name="T31" fmla="*/ 22 h 106"/>
                <a:gd name="T32" fmla="*/ 40 w 102"/>
                <a:gd name="T33" fmla="*/ 2 h 106"/>
                <a:gd name="T34" fmla="*/ 64 w 102"/>
                <a:gd name="T35" fmla="*/ 0 h 106"/>
                <a:gd name="T36" fmla="*/ 48 w 102"/>
                <a:gd name="T37" fmla="*/ 20 h 106"/>
                <a:gd name="T38" fmla="*/ 50 w 102"/>
                <a:gd name="T39" fmla="*/ 24 h 106"/>
                <a:gd name="T40" fmla="*/ 52 w 102"/>
                <a:gd name="T41" fmla="*/ 14 h 106"/>
                <a:gd name="T42" fmla="*/ 50 w 102"/>
                <a:gd name="T43" fmla="*/ 12 h 106"/>
                <a:gd name="T44" fmla="*/ 42 w 102"/>
                <a:gd name="T45" fmla="*/ 40 h 106"/>
                <a:gd name="T46" fmla="*/ 42 w 102"/>
                <a:gd name="T47" fmla="*/ 52 h 106"/>
                <a:gd name="T48" fmla="*/ 44 w 102"/>
                <a:gd name="T49" fmla="*/ 64 h 106"/>
                <a:gd name="T50" fmla="*/ 46 w 102"/>
                <a:gd name="T51" fmla="*/ 40 h 106"/>
                <a:gd name="T52" fmla="*/ 44 w 102"/>
                <a:gd name="T53" fmla="*/ 38 h 106"/>
                <a:gd name="T54" fmla="*/ 36 w 102"/>
                <a:gd name="T55" fmla="*/ 60 h 106"/>
                <a:gd name="T56" fmla="*/ 38 w 102"/>
                <a:gd name="T57" fmla="*/ 52 h 106"/>
                <a:gd name="T58" fmla="*/ 36 w 102"/>
                <a:gd name="T59" fmla="*/ 54 h 106"/>
                <a:gd name="T60" fmla="*/ 70 w 102"/>
                <a:gd name="T61" fmla="*/ 58 h 106"/>
                <a:gd name="T62" fmla="*/ 70 w 102"/>
                <a:gd name="T63" fmla="*/ 50 h 106"/>
                <a:gd name="T64" fmla="*/ 68 w 102"/>
                <a:gd name="T65" fmla="*/ 50 h 106"/>
                <a:gd name="T66" fmla="*/ 70 w 102"/>
                <a:gd name="T67" fmla="*/ 58 h 106"/>
                <a:gd name="T68" fmla="*/ 30 w 102"/>
                <a:gd name="T69" fmla="*/ 56 h 106"/>
                <a:gd name="T70" fmla="*/ 28 w 102"/>
                <a:gd name="T71" fmla="*/ 52 h 106"/>
                <a:gd name="T72" fmla="*/ 22 w 102"/>
                <a:gd name="T73" fmla="*/ 56 h 106"/>
                <a:gd name="T74" fmla="*/ 24 w 102"/>
                <a:gd name="T75" fmla="*/ 52 h 106"/>
                <a:gd name="T76" fmla="*/ 22 w 102"/>
                <a:gd name="T77" fmla="*/ 56 h 106"/>
                <a:gd name="T78" fmla="*/ 56 w 102"/>
                <a:gd name="T79" fmla="*/ 72 h 106"/>
                <a:gd name="T80" fmla="*/ 56 w 102"/>
                <a:gd name="T81" fmla="*/ 62 h 106"/>
                <a:gd name="T82" fmla="*/ 60 w 102"/>
                <a:gd name="T83" fmla="*/ 60 h 106"/>
                <a:gd name="T84" fmla="*/ 54 w 102"/>
                <a:gd name="T85" fmla="*/ 52 h 106"/>
                <a:gd name="T86" fmla="*/ 56 w 102"/>
                <a:gd name="T87" fmla="*/ 72 h 106"/>
                <a:gd name="T88" fmla="*/ 22 w 102"/>
                <a:gd name="T89" fmla="*/ 60 h 106"/>
                <a:gd name="T90" fmla="*/ 22 w 102"/>
                <a:gd name="T91" fmla="*/ 58 h 106"/>
                <a:gd name="T92" fmla="*/ 48 w 102"/>
                <a:gd name="T93" fmla="*/ 84 h 106"/>
                <a:gd name="T94" fmla="*/ 48 w 102"/>
                <a:gd name="T95" fmla="*/ 76 h 106"/>
                <a:gd name="T96" fmla="*/ 46 w 102"/>
                <a:gd name="T97" fmla="*/ 74 h 106"/>
                <a:gd name="T98" fmla="*/ 48 w 102"/>
                <a:gd name="T99" fmla="*/ 84 h 106"/>
                <a:gd name="T100" fmla="*/ 54 w 102"/>
                <a:gd name="T101" fmla="*/ 78 h 106"/>
                <a:gd name="T102" fmla="*/ 52 w 102"/>
                <a:gd name="T103" fmla="*/ 86 h 106"/>
                <a:gd name="T104" fmla="*/ 56 w 102"/>
                <a:gd name="T105" fmla="*/ 8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2" h="106">
                  <a:moveTo>
                    <a:pt x="64" y="0"/>
                  </a:moveTo>
                  <a:lnTo>
                    <a:pt x="64" y="0"/>
                  </a:lnTo>
                  <a:lnTo>
                    <a:pt x="68" y="6"/>
                  </a:lnTo>
                  <a:lnTo>
                    <a:pt x="68" y="1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86" y="30"/>
                  </a:lnTo>
                  <a:lnTo>
                    <a:pt x="94" y="30"/>
                  </a:lnTo>
                  <a:lnTo>
                    <a:pt x="98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2" y="48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98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84" y="68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8"/>
                  </a:lnTo>
                  <a:lnTo>
                    <a:pt x="70" y="86"/>
                  </a:lnTo>
                  <a:lnTo>
                    <a:pt x="70" y="102"/>
                  </a:lnTo>
                  <a:lnTo>
                    <a:pt x="70" y="102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56" y="104"/>
                  </a:lnTo>
                  <a:lnTo>
                    <a:pt x="48" y="104"/>
                  </a:lnTo>
                  <a:lnTo>
                    <a:pt x="38" y="104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2" y="86"/>
                  </a:lnTo>
                  <a:lnTo>
                    <a:pt x="32" y="7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12" y="74"/>
                  </a:lnTo>
                  <a:lnTo>
                    <a:pt x="4" y="74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8" y="42"/>
                  </a:lnTo>
                  <a:lnTo>
                    <a:pt x="14" y="40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30" y="30"/>
                  </a:lnTo>
                  <a:lnTo>
                    <a:pt x="32" y="22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2"/>
                  </a:lnTo>
                  <a:lnTo>
                    <a:pt x="48" y="0"/>
                  </a:lnTo>
                  <a:lnTo>
                    <a:pt x="64" y="0"/>
                  </a:lnTo>
                  <a:lnTo>
                    <a:pt x="64" y="0"/>
                  </a:lnTo>
                  <a:close/>
                  <a:moveTo>
                    <a:pt x="48" y="14"/>
                  </a:moveTo>
                  <a:lnTo>
                    <a:pt x="48" y="14"/>
                  </a:lnTo>
                  <a:lnTo>
                    <a:pt x="48" y="20"/>
                  </a:lnTo>
                  <a:lnTo>
                    <a:pt x="48" y="22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18"/>
                  </a:lnTo>
                  <a:lnTo>
                    <a:pt x="52" y="14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0" y="12"/>
                  </a:lnTo>
                  <a:lnTo>
                    <a:pt x="48" y="14"/>
                  </a:lnTo>
                  <a:lnTo>
                    <a:pt x="48" y="14"/>
                  </a:lnTo>
                  <a:close/>
                  <a:moveTo>
                    <a:pt x="42" y="40"/>
                  </a:moveTo>
                  <a:lnTo>
                    <a:pt x="42" y="40"/>
                  </a:lnTo>
                  <a:lnTo>
                    <a:pt x="44" y="46"/>
                  </a:lnTo>
                  <a:lnTo>
                    <a:pt x="42" y="52"/>
                  </a:lnTo>
                  <a:lnTo>
                    <a:pt x="42" y="5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52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2" y="40"/>
                  </a:lnTo>
                  <a:lnTo>
                    <a:pt x="42" y="40"/>
                  </a:lnTo>
                  <a:close/>
                  <a:moveTo>
                    <a:pt x="36" y="60"/>
                  </a:moveTo>
                  <a:lnTo>
                    <a:pt x="36" y="60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4"/>
                  </a:lnTo>
                  <a:lnTo>
                    <a:pt x="36" y="60"/>
                  </a:lnTo>
                  <a:lnTo>
                    <a:pt x="36" y="60"/>
                  </a:lnTo>
                  <a:close/>
                  <a:moveTo>
                    <a:pt x="70" y="58"/>
                  </a:moveTo>
                  <a:lnTo>
                    <a:pt x="70" y="58"/>
                  </a:lnTo>
                  <a:lnTo>
                    <a:pt x="70" y="54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4"/>
                  </a:lnTo>
                  <a:lnTo>
                    <a:pt x="70" y="58"/>
                  </a:lnTo>
                  <a:lnTo>
                    <a:pt x="70" y="58"/>
                  </a:lnTo>
                  <a:close/>
                  <a:moveTo>
                    <a:pt x="28" y="56"/>
                  </a:moveTo>
                  <a:lnTo>
                    <a:pt x="28" y="56"/>
                  </a:lnTo>
                  <a:lnTo>
                    <a:pt x="30" y="56"/>
                  </a:lnTo>
                  <a:lnTo>
                    <a:pt x="30" y="54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close/>
                  <a:moveTo>
                    <a:pt x="22" y="56"/>
                  </a:moveTo>
                  <a:lnTo>
                    <a:pt x="22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2" y="52"/>
                  </a:lnTo>
                  <a:lnTo>
                    <a:pt x="22" y="54"/>
                  </a:lnTo>
                  <a:lnTo>
                    <a:pt x="22" y="56"/>
                  </a:lnTo>
                  <a:lnTo>
                    <a:pt x="22" y="5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lnTo>
                    <a:pt x="56" y="68"/>
                  </a:lnTo>
                  <a:lnTo>
                    <a:pt x="56" y="62"/>
                  </a:lnTo>
                  <a:lnTo>
                    <a:pt x="56" y="62"/>
                  </a:lnTo>
                  <a:lnTo>
                    <a:pt x="58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58" y="56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64"/>
                  </a:lnTo>
                  <a:lnTo>
                    <a:pt x="54" y="68"/>
                  </a:ln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2" y="60"/>
                  </a:moveTo>
                  <a:lnTo>
                    <a:pt x="22" y="60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8"/>
                  </a:lnTo>
                  <a:lnTo>
                    <a:pt x="22" y="60"/>
                  </a:lnTo>
                  <a:lnTo>
                    <a:pt x="22" y="60"/>
                  </a:lnTo>
                  <a:close/>
                  <a:moveTo>
                    <a:pt x="48" y="84"/>
                  </a:moveTo>
                  <a:lnTo>
                    <a:pt x="48" y="84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6" y="80"/>
                  </a:lnTo>
                  <a:lnTo>
                    <a:pt x="46" y="82"/>
                  </a:lnTo>
                  <a:lnTo>
                    <a:pt x="48" y="84"/>
                  </a:lnTo>
                  <a:lnTo>
                    <a:pt x="48" y="84"/>
                  </a:lnTo>
                  <a:close/>
                  <a:moveTo>
                    <a:pt x="54" y="78"/>
                  </a:moveTo>
                  <a:lnTo>
                    <a:pt x="54" y="78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6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6" y="84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grpFill/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41">
              <a:extLst>
                <a:ext uri="{FF2B5EF4-FFF2-40B4-BE49-F238E27FC236}">
                  <a16:creationId xmlns:a16="http://schemas.microsoft.com/office/drawing/2014/main" id="{6543586A-633D-4991-8E41-A4D2B008B5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38738" y="4062413"/>
              <a:ext cx="390525" cy="419100"/>
            </a:xfrm>
            <a:custGeom>
              <a:avLst/>
              <a:gdLst>
                <a:gd name="T0" fmla="*/ 234 w 246"/>
                <a:gd name="T1" fmla="*/ 84 h 264"/>
                <a:gd name="T2" fmla="*/ 234 w 246"/>
                <a:gd name="T3" fmla="*/ 94 h 264"/>
                <a:gd name="T4" fmla="*/ 186 w 246"/>
                <a:gd name="T5" fmla="*/ 142 h 264"/>
                <a:gd name="T6" fmla="*/ 140 w 246"/>
                <a:gd name="T7" fmla="*/ 196 h 264"/>
                <a:gd name="T8" fmla="*/ 104 w 246"/>
                <a:gd name="T9" fmla="*/ 232 h 264"/>
                <a:gd name="T10" fmla="*/ 80 w 246"/>
                <a:gd name="T11" fmla="*/ 248 h 264"/>
                <a:gd name="T12" fmla="*/ 4 w 246"/>
                <a:gd name="T13" fmla="*/ 262 h 264"/>
                <a:gd name="T14" fmla="*/ 6 w 246"/>
                <a:gd name="T15" fmla="*/ 192 h 264"/>
                <a:gd name="T16" fmla="*/ 24 w 246"/>
                <a:gd name="T17" fmla="*/ 158 h 264"/>
                <a:gd name="T18" fmla="*/ 46 w 246"/>
                <a:gd name="T19" fmla="*/ 128 h 264"/>
                <a:gd name="T20" fmla="*/ 116 w 246"/>
                <a:gd name="T21" fmla="*/ 44 h 264"/>
                <a:gd name="T22" fmla="*/ 154 w 246"/>
                <a:gd name="T23" fmla="*/ 4 h 264"/>
                <a:gd name="T24" fmla="*/ 190 w 246"/>
                <a:gd name="T25" fmla="*/ 18 h 264"/>
                <a:gd name="T26" fmla="*/ 240 w 246"/>
                <a:gd name="T27" fmla="*/ 68 h 264"/>
                <a:gd name="T28" fmla="*/ 160 w 246"/>
                <a:gd name="T29" fmla="*/ 20 h 264"/>
                <a:gd name="T30" fmla="*/ 152 w 246"/>
                <a:gd name="T31" fmla="*/ 38 h 264"/>
                <a:gd name="T32" fmla="*/ 162 w 246"/>
                <a:gd name="T33" fmla="*/ 14 h 264"/>
                <a:gd name="T34" fmla="*/ 158 w 246"/>
                <a:gd name="T35" fmla="*/ 44 h 264"/>
                <a:gd name="T36" fmla="*/ 170 w 246"/>
                <a:gd name="T37" fmla="*/ 20 h 264"/>
                <a:gd name="T38" fmla="*/ 146 w 246"/>
                <a:gd name="T39" fmla="*/ 42 h 264"/>
                <a:gd name="T40" fmla="*/ 174 w 246"/>
                <a:gd name="T41" fmla="*/ 34 h 264"/>
                <a:gd name="T42" fmla="*/ 168 w 246"/>
                <a:gd name="T43" fmla="*/ 58 h 264"/>
                <a:gd name="T44" fmla="*/ 178 w 246"/>
                <a:gd name="T45" fmla="*/ 26 h 264"/>
                <a:gd name="T46" fmla="*/ 176 w 246"/>
                <a:gd name="T47" fmla="*/ 64 h 264"/>
                <a:gd name="T48" fmla="*/ 176 w 246"/>
                <a:gd name="T49" fmla="*/ 46 h 264"/>
                <a:gd name="T50" fmla="*/ 190 w 246"/>
                <a:gd name="T51" fmla="*/ 46 h 264"/>
                <a:gd name="T52" fmla="*/ 184 w 246"/>
                <a:gd name="T53" fmla="*/ 54 h 264"/>
                <a:gd name="T54" fmla="*/ 192 w 246"/>
                <a:gd name="T55" fmla="*/ 78 h 264"/>
                <a:gd name="T56" fmla="*/ 196 w 246"/>
                <a:gd name="T57" fmla="*/ 44 h 264"/>
                <a:gd name="T58" fmla="*/ 120 w 246"/>
                <a:gd name="T59" fmla="*/ 56 h 264"/>
                <a:gd name="T60" fmla="*/ 62 w 246"/>
                <a:gd name="T61" fmla="*/ 128 h 264"/>
                <a:gd name="T62" fmla="*/ 30 w 246"/>
                <a:gd name="T63" fmla="*/ 182 h 264"/>
                <a:gd name="T64" fmla="*/ 104 w 246"/>
                <a:gd name="T65" fmla="*/ 98 h 264"/>
                <a:gd name="T66" fmla="*/ 142 w 246"/>
                <a:gd name="T67" fmla="*/ 54 h 264"/>
                <a:gd name="T68" fmla="*/ 204 w 246"/>
                <a:gd name="T69" fmla="*/ 70 h 264"/>
                <a:gd name="T70" fmla="*/ 198 w 246"/>
                <a:gd name="T71" fmla="*/ 70 h 264"/>
                <a:gd name="T72" fmla="*/ 192 w 246"/>
                <a:gd name="T73" fmla="*/ 78 h 264"/>
                <a:gd name="T74" fmla="*/ 208 w 246"/>
                <a:gd name="T75" fmla="*/ 72 h 264"/>
                <a:gd name="T76" fmla="*/ 204 w 246"/>
                <a:gd name="T77" fmla="*/ 92 h 264"/>
                <a:gd name="T78" fmla="*/ 216 w 246"/>
                <a:gd name="T79" fmla="*/ 62 h 264"/>
                <a:gd name="T80" fmla="*/ 152 w 246"/>
                <a:gd name="T81" fmla="*/ 64 h 264"/>
                <a:gd name="T82" fmla="*/ 132 w 246"/>
                <a:gd name="T83" fmla="*/ 88 h 264"/>
                <a:gd name="T84" fmla="*/ 116 w 246"/>
                <a:gd name="T85" fmla="*/ 104 h 264"/>
                <a:gd name="T86" fmla="*/ 42 w 246"/>
                <a:gd name="T87" fmla="*/ 188 h 264"/>
                <a:gd name="T88" fmla="*/ 68 w 246"/>
                <a:gd name="T89" fmla="*/ 198 h 264"/>
                <a:gd name="T90" fmla="*/ 156 w 246"/>
                <a:gd name="T91" fmla="*/ 64 h 264"/>
                <a:gd name="T92" fmla="*/ 212 w 246"/>
                <a:gd name="T93" fmla="*/ 96 h 264"/>
                <a:gd name="T94" fmla="*/ 220 w 246"/>
                <a:gd name="T95" fmla="*/ 68 h 264"/>
                <a:gd name="T96" fmla="*/ 230 w 246"/>
                <a:gd name="T97" fmla="*/ 76 h 264"/>
                <a:gd name="T98" fmla="*/ 184 w 246"/>
                <a:gd name="T99" fmla="*/ 90 h 264"/>
                <a:gd name="T100" fmla="*/ 78 w 246"/>
                <a:gd name="T101" fmla="*/ 206 h 264"/>
                <a:gd name="T102" fmla="*/ 92 w 246"/>
                <a:gd name="T103" fmla="*/ 228 h 264"/>
                <a:gd name="T104" fmla="*/ 184 w 246"/>
                <a:gd name="T105" fmla="*/ 90 h 264"/>
                <a:gd name="T106" fmla="*/ 78 w 246"/>
                <a:gd name="T107" fmla="*/ 236 h 264"/>
                <a:gd name="T108" fmla="*/ 30 w 246"/>
                <a:gd name="T109" fmla="*/ 194 h 264"/>
                <a:gd name="T110" fmla="*/ 14 w 246"/>
                <a:gd name="T111" fmla="*/ 232 h 264"/>
                <a:gd name="T112" fmla="*/ 14 w 246"/>
                <a:gd name="T113" fmla="*/ 232 h 264"/>
                <a:gd name="T114" fmla="*/ 22 w 246"/>
                <a:gd name="T115" fmla="*/ 250 h 264"/>
                <a:gd name="T116" fmla="*/ 20 w 246"/>
                <a:gd name="T117" fmla="*/ 236 h 264"/>
                <a:gd name="T118" fmla="*/ 28 w 246"/>
                <a:gd name="T119" fmla="*/ 236 h 264"/>
                <a:gd name="T120" fmla="*/ 36 w 246"/>
                <a:gd name="T121" fmla="*/ 246 h 264"/>
                <a:gd name="T122" fmla="*/ 36 w 246"/>
                <a:gd name="T123" fmla="*/ 24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6" h="264">
                  <a:moveTo>
                    <a:pt x="246" y="78"/>
                  </a:moveTo>
                  <a:lnTo>
                    <a:pt x="246" y="78"/>
                  </a:lnTo>
                  <a:lnTo>
                    <a:pt x="246" y="82"/>
                  </a:lnTo>
                  <a:lnTo>
                    <a:pt x="242" y="82"/>
                  </a:lnTo>
                  <a:lnTo>
                    <a:pt x="234" y="82"/>
                  </a:lnTo>
                  <a:lnTo>
                    <a:pt x="234" y="82"/>
                  </a:lnTo>
                  <a:lnTo>
                    <a:pt x="234" y="84"/>
                  </a:lnTo>
                  <a:lnTo>
                    <a:pt x="236" y="84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38" y="86"/>
                  </a:lnTo>
                  <a:lnTo>
                    <a:pt x="236" y="88"/>
                  </a:lnTo>
                  <a:lnTo>
                    <a:pt x="236" y="92"/>
                  </a:lnTo>
                  <a:lnTo>
                    <a:pt x="234" y="94"/>
                  </a:lnTo>
                  <a:lnTo>
                    <a:pt x="232" y="96"/>
                  </a:lnTo>
                  <a:lnTo>
                    <a:pt x="232" y="96"/>
                  </a:lnTo>
                  <a:lnTo>
                    <a:pt x="224" y="102"/>
                  </a:lnTo>
                  <a:lnTo>
                    <a:pt x="218" y="110"/>
                  </a:lnTo>
                  <a:lnTo>
                    <a:pt x="218" y="110"/>
                  </a:lnTo>
                  <a:lnTo>
                    <a:pt x="202" y="126"/>
                  </a:lnTo>
                  <a:lnTo>
                    <a:pt x="186" y="142"/>
                  </a:lnTo>
                  <a:lnTo>
                    <a:pt x="156" y="178"/>
                  </a:lnTo>
                  <a:lnTo>
                    <a:pt x="156" y="178"/>
                  </a:lnTo>
                  <a:lnTo>
                    <a:pt x="152" y="182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4" y="190"/>
                  </a:lnTo>
                  <a:lnTo>
                    <a:pt x="140" y="196"/>
                  </a:lnTo>
                  <a:lnTo>
                    <a:pt x="132" y="204"/>
                  </a:lnTo>
                  <a:lnTo>
                    <a:pt x="132" y="204"/>
                  </a:lnTo>
                  <a:lnTo>
                    <a:pt x="124" y="212"/>
                  </a:lnTo>
                  <a:lnTo>
                    <a:pt x="118" y="220"/>
                  </a:lnTo>
                  <a:lnTo>
                    <a:pt x="118" y="220"/>
                  </a:lnTo>
                  <a:lnTo>
                    <a:pt x="108" y="228"/>
                  </a:lnTo>
                  <a:lnTo>
                    <a:pt x="104" y="232"/>
                  </a:lnTo>
                  <a:lnTo>
                    <a:pt x="100" y="238"/>
                  </a:lnTo>
                  <a:lnTo>
                    <a:pt x="100" y="238"/>
                  </a:lnTo>
                  <a:lnTo>
                    <a:pt x="92" y="240"/>
                  </a:lnTo>
                  <a:lnTo>
                    <a:pt x="92" y="240"/>
                  </a:lnTo>
                  <a:lnTo>
                    <a:pt x="90" y="246"/>
                  </a:lnTo>
                  <a:lnTo>
                    <a:pt x="90" y="246"/>
                  </a:lnTo>
                  <a:lnTo>
                    <a:pt x="80" y="248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42" y="258"/>
                  </a:lnTo>
                  <a:lnTo>
                    <a:pt x="26" y="262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4" y="26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30"/>
                  </a:lnTo>
                  <a:lnTo>
                    <a:pt x="0" y="216"/>
                  </a:lnTo>
                  <a:lnTo>
                    <a:pt x="2" y="204"/>
                  </a:lnTo>
                  <a:lnTo>
                    <a:pt x="2" y="204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6" y="182"/>
                  </a:lnTo>
                  <a:lnTo>
                    <a:pt x="8" y="176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24" y="158"/>
                  </a:lnTo>
                  <a:lnTo>
                    <a:pt x="24" y="158"/>
                  </a:lnTo>
                  <a:lnTo>
                    <a:pt x="28" y="154"/>
                  </a:lnTo>
                  <a:lnTo>
                    <a:pt x="28" y="154"/>
                  </a:lnTo>
                  <a:lnTo>
                    <a:pt x="30" y="150"/>
                  </a:lnTo>
                  <a:lnTo>
                    <a:pt x="30" y="150"/>
                  </a:lnTo>
                  <a:lnTo>
                    <a:pt x="42" y="138"/>
                  </a:lnTo>
                  <a:lnTo>
                    <a:pt x="42" y="13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84" y="82"/>
                  </a:lnTo>
                  <a:lnTo>
                    <a:pt x="84" y="82"/>
                  </a:lnTo>
                  <a:lnTo>
                    <a:pt x="96" y="68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16" y="44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36" y="22"/>
                  </a:lnTo>
                  <a:lnTo>
                    <a:pt x="146" y="12"/>
                  </a:lnTo>
                  <a:lnTo>
                    <a:pt x="146" y="12"/>
                  </a:lnTo>
                  <a:lnTo>
                    <a:pt x="150" y="8"/>
                  </a:lnTo>
                  <a:lnTo>
                    <a:pt x="154" y="4"/>
                  </a:lnTo>
                  <a:lnTo>
                    <a:pt x="158" y="2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68" y="4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90" y="18"/>
                  </a:lnTo>
                  <a:lnTo>
                    <a:pt x="204" y="30"/>
                  </a:lnTo>
                  <a:lnTo>
                    <a:pt x="204" y="30"/>
                  </a:lnTo>
                  <a:lnTo>
                    <a:pt x="218" y="46"/>
                  </a:lnTo>
                  <a:lnTo>
                    <a:pt x="218" y="46"/>
                  </a:lnTo>
                  <a:lnTo>
                    <a:pt x="228" y="56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4" y="72"/>
                  </a:lnTo>
                  <a:lnTo>
                    <a:pt x="246" y="76"/>
                  </a:lnTo>
                  <a:lnTo>
                    <a:pt x="246" y="78"/>
                  </a:lnTo>
                  <a:lnTo>
                    <a:pt x="246" y="78"/>
                  </a:lnTo>
                  <a:close/>
                  <a:moveTo>
                    <a:pt x="162" y="14"/>
                  </a:moveTo>
                  <a:lnTo>
                    <a:pt x="162" y="14"/>
                  </a:lnTo>
                  <a:lnTo>
                    <a:pt x="160" y="20"/>
                  </a:lnTo>
                  <a:lnTo>
                    <a:pt x="158" y="22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6" y="26"/>
                  </a:lnTo>
                  <a:lnTo>
                    <a:pt x="156" y="28"/>
                  </a:lnTo>
                  <a:lnTo>
                    <a:pt x="156" y="28"/>
                  </a:lnTo>
                  <a:lnTo>
                    <a:pt x="152" y="38"/>
                  </a:lnTo>
                  <a:lnTo>
                    <a:pt x="152" y="42"/>
                  </a:lnTo>
                  <a:lnTo>
                    <a:pt x="154" y="46"/>
                  </a:lnTo>
                  <a:lnTo>
                    <a:pt x="154" y="46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14"/>
                  </a:lnTo>
                  <a:lnTo>
                    <a:pt x="162" y="14"/>
                  </a:lnTo>
                  <a:lnTo>
                    <a:pt x="162" y="14"/>
                  </a:lnTo>
                  <a:close/>
                  <a:moveTo>
                    <a:pt x="170" y="20"/>
                  </a:moveTo>
                  <a:lnTo>
                    <a:pt x="170" y="20"/>
                  </a:lnTo>
                  <a:lnTo>
                    <a:pt x="166" y="28"/>
                  </a:lnTo>
                  <a:lnTo>
                    <a:pt x="162" y="38"/>
                  </a:lnTo>
                  <a:lnTo>
                    <a:pt x="162" y="38"/>
                  </a:lnTo>
                  <a:lnTo>
                    <a:pt x="158" y="44"/>
                  </a:lnTo>
                  <a:lnTo>
                    <a:pt x="158" y="48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6" y="36"/>
                  </a:lnTo>
                  <a:lnTo>
                    <a:pt x="172" y="20"/>
                  </a:lnTo>
                  <a:lnTo>
                    <a:pt x="172" y="20"/>
                  </a:lnTo>
                  <a:lnTo>
                    <a:pt x="170" y="20"/>
                  </a:lnTo>
                  <a:lnTo>
                    <a:pt x="170" y="20"/>
                  </a:lnTo>
                  <a:close/>
                  <a:moveTo>
                    <a:pt x="146" y="34"/>
                  </a:moveTo>
                  <a:lnTo>
                    <a:pt x="146" y="34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50" y="32"/>
                  </a:lnTo>
                  <a:lnTo>
                    <a:pt x="150" y="28"/>
                  </a:lnTo>
                  <a:lnTo>
                    <a:pt x="152" y="22"/>
                  </a:lnTo>
                  <a:lnTo>
                    <a:pt x="152" y="22"/>
                  </a:lnTo>
                  <a:lnTo>
                    <a:pt x="146" y="34"/>
                  </a:lnTo>
                  <a:lnTo>
                    <a:pt x="146" y="34"/>
                  </a:lnTo>
                  <a:close/>
                  <a:moveTo>
                    <a:pt x="174" y="34"/>
                  </a:moveTo>
                  <a:lnTo>
                    <a:pt x="174" y="34"/>
                  </a:lnTo>
                  <a:lnTo>
                    <a:pt x="170" y="38"/>
                  </a:lnTo>
                  <a:lnTo>
                    <a:pt x="168" y="4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72" y="44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8" y="30"/>
                  </a:lnTo>
                  <a:lnTo>
                    <a:pt x="178" y="28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4" y="30"/>
                  </a:lnTo>
                  <a:lnTo>
                    <a:pt x="174" y="34"/>
                  </a:lnTo>
                  <a:lnTo>
                    <a:pt x="174" y="34"/>
                  </a:lnTo>
                  <a:close/>
                  <a:moveTo>
                    <a:pt x="172" y="62"/>
                  </a:moveTo>
                  <a:lnTo>
                    <a:pt x="172" y="62"/>
                  </a:lnTo>
                  <a:lnTo>
                    <a:pt x="176" y="64"/>
                  </a:lnTo>
                  <a:lnTo>
                    <a:pt x="176" y="64"/>
                  </a:lnTo>
                  <a:lnTo>
                    <a:pt x="182" y="48"/>
                  </a:lnTo>
                  <a:lnTo>
                    <a:pt x="186" y="32"/>
                  </a:lnTo>
                  <a:lnTo>
                    <a:pt x="186" y="32"/>
                  </a:lnTo>
                  <a:lnTo>
                    <a:pt x="184" y="30"/>
                  </a:lnTo>
                  <a:lnTo>
                    <a:pt x="182" y="30"/>
                  </a:lnTo>
                  <a:lnTo>
                    <a:pt x="182" y="30"/>
                  </a:lnTo>
                  <a:lnTo>
                    <a:pt x="176" y="46"/>
                  </a:lnTo>
                  <a:lnTo>
                    <a:pt x="172" y="62"/>
                  </a:lnTo>
                  <a:lnTo>
                    <a:pt x="172" y="62"/>
                  </a:lnTo>
                  <a:close/>
                  <a:moveTo>
                    <a:pt x="182" y="70"/>
                  </a:moveTo>
                  <a:lnTo>
                    <a:pt x="182" y="70"/>
                  </a:lnTo>
                  <a:lnTo>
                    <a:pt x="186" y="58"/>
                  </a:lnTo>
                  <a:lnTo>
                    <a:pt x="190" y="46"/>
                  </a:lnTo>
                  <a:lnTo>
                    <a:pt x="190" y="46"/>
                  </a:lnTo>
                  <a:lnTo>
                    <a:pt x="192" y="42"/>
                  </a:lnTo>
                  <a:lnTo>
                    <a:pt x="194" y="42"/>
                  </a:lnTo>
                  <a:lnTo>
                    <a:pt x="192" y="38"/>
                  </a:lnTo>
                  <a:lnTo>
                    <a:pt x="192" y="38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84" y="54"/>
                  </a:lnTo>
                  <a:lnTo>
                    <a:pt x="184" y="62"/>
                  </a:lnTo>
                  <a:lnTo>
                    <a:pt x="182" y="70"/>
                  </a:lnTo>
                  <a:lnTo>
                    <a:pt x="182" y="70"/>
                  </a:lnTo>
                  <a:close/>
                  <a:moveTo>
                    <a:pt x="188" y="74"/>
                  </a:moveTo>
                  <a:lnTo>
                    <a:pt x="188" y="74"/>
                  </a:lnTo>
                  <a:lnTo>
                    <a:pt x="190" y="76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4" y="68"/>
                  </a:lnTo>
                  <a:lnTo>
                    <a:pt x="196" y="62"/>
                  </a:lnTo>
                  <a:lnTo>
                    <a:pt x="200" y="46"/>
                  </a:lnTo>
                  <a:lnTo>
                    <a:pt x="200" y="46"/>
                  </a:lnTo>
                  <a:lnTo>
                    <a:pt x="198" y="44"/>
                  </a:lnTo>
                  <a:lnTo>
                    <a:pt x="196" y="44"/>
                  </a:lnTo>
                  <a:lnTo>
                    <a:pt x="196" y="44"/>
                  </a:lnTo>
                  <a:lnTo>
                    <a:pt x="192" y="58"/>
                  </a:lnTo>
                  <a:lnTo>
                    <a:pt x="188" y="74"/>
                  </a:lnTo>
                  <a:lnTo>
                    <a:pt x="188" y="74"/>
                  </a:lnTo>
                  <a:close/>
                  <a:moveTo>
                    <a:pt x="130" y="46"/>
                  </a:moveTo>
                  <a:lnTo>
                    <a:pt x="130" y="46"/>
                  </a:lnTo>
                  <a:lnTo>
                    <a:pt x="120" y="56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0" y="82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76" y="112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24" y="178"/>
                  </a:lnTo>
                  <a:lnTo>
                    <a:pt x="24" y="178"/>
                  </a:lnTo>
                  <a:lnTo>
                    <a:pt x="30" y="182"/>
                  </a:lnTo>
                  <a:lnTo>
                    <a:pt x="30" y="182"/>
                  </a:lnTo>
                  <a:lnTo>
                    <a:pt x="48" y="164"/>
                  </a:lnTo>
                  <a:lnTo>
                    <a:pt x="66" y="144"/>
                  </a:lnTo>
                  <a:lnTo>
                    <a:pt x="82" y="124"/>
                  </a:lnTo>
                  <a:lnTo>
                    <a:pt x="100" y="106"/>
                  </a:lnTo>
                  <a:lnTo>
                    <a:pt x="100" y="106"/>
                  </a:lnTo>
                  <a:lnTo>
                    <a:pt x="104" y="98"/>
                  </a:lnTo>
                  <a:lnTo>
                    <a:pt x="110" y="92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36" y="62"/>
                  </a:lnTo>
                  <a:lnTo>
                    <a:pt x="136" y="62"/>
                  </a:lnTo>
                  <a:lnTo>
                    <a:pt x="140" y="58"/>
                  </a:lnTo>
                  <a:lnTo>
                    <a:pt x="142" y="54"/>
                  </a:lnTo>
                  <a:lnTo>
                    <a:pt x="142" y="54"/>
                  </a:lnTo>
                  <a:lnTo>
                    <a:pt x="136" y="50"/>
                  </a:lnTo>
                  <a:lnTo>
                    <a:pt x="130" y="46"/>
                  </a:lnTo>
                  <a:lnTo>
                    <a:pt x="130" y="46"/>
                  </a:lnTo>
                  <a:close/>
                  <a:moveTo>
                    <a:pt x="198" y="84"/>
                  </a:moveTo>
                  <a:lnTo>
                    <a:pt x="198" y="84"/>
                  </a:lnTo>
                  <a:lnTo>
                    <a:pt x="204" y="70"/>
                  </a:lnTo>
                  <a:lnTo>
                    <a:pt x="208" y="54"/>
                  </a:lnTo>
                  <a:lnTo>
                    <a:pt x="208" y="54"/>
                  </a:lnTo>
                  <a:lnTo>
                    <a:pt x="206" y="54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0" y="64"/>
                  </a:lnTo>
                  <a:lnTo>
                    <a:pt x="198" y="70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4" y="80"/>
                  </a:lnTo>
                  <a:lnTo>
                    <a:pt x="194" y="80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6" y="82"/>
                  </a:lnTo>
                  <a:lnTo>
                    <a:pt x="198" y="84"/>
                  </a:lnTo>
                  <a:lnTo>
                    <a:pt x="198" y="84"/>
                  </a:lnTo>
                  <a:close/>
                  <a:moveTo>
                    <a:pt x="212" y="60"/>
                  </a:moveTo>
                  <a:lnTo>
                    <a:pt x="212" y="60"/>
                  </a:lnTo>
                  <a:lnTo>
                    <a:pt x="208" y="72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04" y="90"/>
                  </a:lnTo>
                  <a:lnTo>
                    <a:pt x="204" y="90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6" y="92"/>
                  </a:lnTo>
                  <a:lnTo>
                    <a:pt x="206" y="90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12" y="76"/>
                  </a:lnTo>
                  <a:lnTo>
                    <a:pt x="216" y="62"/>
                  </a:lnTo>
                  <a:lnTo>
                    <a:pt x="216" y="62"/>
                  </a:lnTo>
                  <a:lnTo>
                    <a:pt x="214" y="60"/>
                  </a:lnTo>
                  <a:lnTo>
                    <a:pt x="212" y="60"/>
                  </a:lnTo>
                  <a:lnTo>
                    <a:pt x="212" y="60"/>
                  </a:lnTo>
                  <a:close/>
                  <a:moveTo>
                    <a:pt x="156" y="64"/>
                  </a:moveTo>
                  <a:lnTo>
                    <a:pt x="156" y="64"/>
                  </a:lnTo>
                  <a:lnTo>
                    <a:pt x="152" y="64"/>
                  </a:lnTo>
                  <a:lnTo>
                    <a:pt x="148" y="68"/>
                  </a:lnTo>
                  <a:lnTo>
                    <a:pt x="144" y="74"/>
                  </a:lnTo>
                  <a:lnTo>
                    <a:pt x="144" y="74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2" y="88"/>
                  </a:lnTo>
                  <a:lnTo>
                    <a:pt x="132" y="88"/>
                  </a:lnTo>
                  <a:lnTo>
                    <a:pt x="118" y="102"/>
                  </a:lnTo>
                  <a:lnTo>
                    <a:pt x="118" y="102"/>
                  </a:lnTo>
                  <a:lnTo>
                    <a:pt x="118" y="102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62" y="166"/>
                  </a:lnTo>
                  <a:lnTo>
                    <a:pt x="56" y="174"/>
                  </a:lnTo>
                  <a:lnTo>
                    <a:pt x="48" y="180"/>
                  </a:lnTo>
                  <a:lnTo>
                    <a:pt x="42" y="188"/>
                  </a:lnTo>
                  <a:lnTo>
                    <a:pt x="42" y="188"/>
                  </a:lnTo>
                  <a:lnTo>
                    <a:pt x="54" y="196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68" y="202"/>
                  </a:lnTo>
                  <a:lnTo>
                    <a:pt x="68" y="198"/>
                  </a:lnTo>
                  <a:lnTo>
                    <a:pt x="68" y="198"/>
                  </a:lnTo>
                  <a:lnTo>
                    <a:pt x="94" y="170"/>
                  </a:lnTo>
                  <a:lnTo>
                    <a:pt x="122" y="140"/>
                  </a:lnTo>
                  <a:lnTo>
                    <a:pt x="148" y="110"/>
                  </a:lnTo>
                  <a:lnTo>
                    <a:pt x="174" y="78"/>
                  </a:lnTo>
                  <a:lnTo>
                    <a:pt x="174" y="78"/>
                  </a:lnTo>
                  <a:lnTo>
                    <a:pt x="164" y="70"/>
                  </a:lnTo>
                  <a:lnTo>
                    <a:pt x="156" y="64"/>
                  </a:lnTo>
                  <a:lnTo>
                    <a:pt x="156" y="64"/>
                  </a:lnTo>
                  <a:close/>
                  <a:moveTo>
                    <a:pt x="220" y="68"/>
                  </a:moveTo>
                  <a:lnTo>
                    <a:pt x="220" y="68"/>
                  </a:lnTo>
                  <a:lnTo>
                    <a:pt x="214" y="82"/>
                  </a:lnTo>
                  <a:lnTo>
                    <a:pt x="212" y="88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6" y="90"/>
                  </a:lnTo>
                  <a:lnTo>
                    <a:pt x="218" y="82"/>
                  </a:lnTo>
                  <a:lnTo>
                    <a:pt x="218" y="82"/>
                  </a:lnTo>
                  <a:lnTo>
                    <a:pt x="220" y="76"/>
                  </a:lnTo>
                  <a:lnTo>
                    <a:pt x="222" y="68"/>
                  </a:lnTo>
                  <a:lnTo>
                    <a:pt x="222" y="68"/>
                  </a:lnTo>
                  <a:lnTo>
                    <a:pt x="220" y="68"/>
                  </a:lnTo>
                  <a:lnTo>
                    <a:pt x="220" y="68"/>
                  </a:lnTo>
                  <a:close/>
                  <a:moveTo>
                    <a:pt x="224" y="84"/>
                  </a:moveTo>
                  <a:lnTo>
                    <a:pt x="224" y="84"/>
                  </a:lnTo>
                  <a:lnTo>
                    <a:pt x="226" y="82"/>
                  </a:lnTo>
                  <a:lnTo>
                    <a:pt x="230" y="80"/>
                  </a:lnTo>
                  <a:lnTo>
                    <a:pt x="230" y="80"/>
                  </a:lnTo>
                  <a:lnTo>
                    <a:pt x="230" y="76"/>
                  </a:lnTo>
                  <a:lnTo>
                    <a:pt x="226" y="74"/>
                  </a:lnTo>
                  <a:lnTo>
                    <a:pt x="226" y="74"/>
                  </a:lnTo>
                  <a:lnTo>
                    <a:pt x="224" y="80"/>
                  </a:lnTo>
                  <a:lnTo>
                    <a:pt x="224" y="84"/>
                  </a:lnTo>
                  <a:lnTo>
                    <a:pt x="224" y="84"/>
                  </a:lnTo>
                  <a:close/>
                  <a:moveTo>
                    <a:pt x="184" y="90"/>
                  </a:moveTo>
                  <a:lnTo>
                    <a:pt x="184" y="90"/>
                  </a:lnTo>
                  <a:lnTo>
                    <a:pt x="160" y="116"/>
                  </a:lnTo>
                  <a:lnTo>
                    <a:pt x="148" y="130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8"/>
                  </a:lnTo>
                  <a:lnTo>
                    <a:pt x="76" y="210"/>
                  </a:lnTo>
                  <a:lnTo>
                    <a:pt x="76" y="212"/>
                  </a:lnTo>
                  <a:lnTo>
                    <a:pt x="76" y="212"/>
                  </a:lnTo>
                  <a:lnTo>
                    <a:pt x="84" y="220"/>
                  </a:lnTo>
                  <a:lnTo>
                    <a:pt x="92" y="228"/>
                  </a:lnTo>
                  <a:lnTo>
                    <a:pt x="92" y="228"/>
                  </a:lnTo>
                  <a:lnTo>
                    <a:pt x="120" y="198"/>
                  </a:lnTo>
                  <a:lnTo>
                    <a:pt x="148" y="168"/>
                  </a:lnTo>
                  <a:lnTo>
                    <a:pt x="202" y="108"/>
                  </a:lnTo>
                  <a:lnTo>
                    <a:pt x="202" y="108"/>
                  </a:lnTo>
                  <a:lnTo>
                    <a:pt x="192" y="98"/>
                  </a:lnTo>
                  <a:lnTo>
                    <a:pt x="184" y="90"/>
                  </a:lnTo>
                  <a:lnTo>
                    <a:pt x="184" y="90"/>
                  </a:lnTo>
                  <a:close/>
                  <a:moveTo>
                    <a:pt x="16" y="212"/>
                  </a:moveTo>
                  <a:lnTo>
                    <a:pt x="16" y="212"/>
                  </a:lnTo>
                  <a:lnTo>
                    <a:pt x="38" y="226"/>
                  </a:lnTo>
                  <a:lnTo>
                    <a:pt x="60" y="240"/>
                  </a:lnTo>
                  <a:lnTo>
                    <a:pt x="60" y="240"/>
                  </a:lnTo>
                  <a:lnTo>
                    <a:pt x="78" y="236"/>
                  </a:lnTo>
                  <a:lnTo>
                    <a:pt x="78" y="236"/>
                  </a:lnTo>
                  <a:lnTo>
                    <a:pt x="76" y="230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50" y="210"/>
                  </a:lnTo>
                  <a:lnTo>
                    <a:pt x="30" y="194"/>
                  </a:lnTo>
                  <a:lnTo>
                    <a:pt x="30" y="194"/>
                  </a:lnTo>
                  <a:lnTo>
                    <a:pt x="24" y="192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18" y="200"/>
                  </a:lnTo>
                  <a:lnTo>
                    <a:pt x="16" y="212"/>
                  </a:lnTo>
                  <a:lnTo>
                    <a:pt x="16" y="212"/>
                  </a:lnTo>
                  <a:close/>
                  <a:moveTo>
                    <a:pt x="14" y="232"/>
                  </a:moveTo>
                  <a:lnTo>
                    <a:pt x="14" y="232"/>
                  </a:lnTo>
                  <a:lnTo>
                    <a:pt x="16" y="230"/>
                  </a:lnTo>
                  <a:lnTo>
                    <a:pt x="16" y="228"/>
                  </a:lnTo>
                  <a:lnTo>
                    <a:pt x="14" y="228"/>
                  </a:lnTo>
                  <a:lnTo>
                    <a:pt x="14" y="228"/>
                  </a:lnTo>
                  <a:lnTo>
                    <a:pt x="14" y="230"/>
                  </a:lnTo>
                  <a:lnTo>
                    <a:pt x="14" y="232"/>
                  </a:lnTo>
                  <a:lnTo>
                    <a:pt x="14" y="232"/>
                  </a:lnTo>
                  <a:close/>
                  <a:moveTo>
                    <a:pt x="20" y="236"/>
                  </a:moveTo>
                  <a:lnTo>
                    <a:pt x="20" y="236"/>
                  </a:lnTo>
                  <a:lnTo>
                    <a:pt x="20" y="244"/>
                  </a:lnTo>
                  <a:lnTo>
                    <a:pt x="20" y="248"/>
                  </a:lnTo>
                  <a:lnTo>
                    <a:pt x="22" y="250"/>
                  </a:lnTo>
                  <a:lnTo>
                    <a:pt x="22" y="250"/>
                  </a:lnTo>
                  <a:lnTo>
                    <a:pt x="22" y="24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2"/>
                  </a:lnTo>
                  <a:lnTo>
                    <a:pt x="20" y="236"/>
                  </a:lnTo>
                  <a:lnTo>
                    <a:pt x="20" y="236"/>
                  </a:lnTo>
                  <a:close/>
                  <a:moveTo>
                    <a:pt x="28" y="248"/>
                  </a:moveTo>
                  <a:lnTo>
                    <a:pt x="28" y="248"/>
                  </a:lnTo>
                  <a:lnTo>
                    <a:pt x="30" y="242"/>
                  </a:lnTo>
                  <a:lnTo>
                    <a:pt x="30" y="236"/>
                  </a:lnTo>
                  <a:lnTo>
                    <a:pt x="30" y="236"/>
                  </a:lnTo>
                  <a:lnTo>
                    <a:pt x="28" y="236"/>
                  </a:lnTo>
                  <a:lnTo>
                    <a:pt x="28" y="236"/>
                  </a:lnTo>
                  <a:lnTo>
                    <a:pt x="28" y="242"/>
                  </a:lnTo>
                  <a:lnTo>
                    <a:pt x="28" y="246"/>
                  </a:lnTo>
                  <a:lnTo>
                    <a:pt x="28" y="248"/>
                  </a:lnTo>
                  <a:lnTo>
                    <a:pt x="28" y="248"/>
                  </a:lnTo>
                  <a:close/>
                  <a:moveTo>
                    <a:pt x="36" y="246"/>
                  </a:moveTo>
                  <a:lnTo>
                    <a:pt x="36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0" y="242"/>
                  </a:lnTo>
                  <a:lnTo>
                    <a:pt x="36" y="240"/>
                  </a:lnTo>
                  <a:lnTo>
                    <a:pt x="36" y="240"/>
                  </a:lnTo>
                  <a:lnTo>
                    <a:pt x="34" y="244"/>
                  </a:lnTo>
                  <a:lnTo>
                    <a:pt x="36" y="246"/>
                  </a:lnTo>
                  <a:lnTo>
                    <a:pt x="36" y="246"/>
                  </a:lnTo>
                  <a:close/>
                </a:path>
              </a:pathLst>
            </a:custGeom>
            <a:grpFill/>
            <a:ln w="9525">
              <a:solidFill>
                <a:srgbClr val="20B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2" name="Freeform 1475">
            <a:extLst>
              <a:ext uri="{FF2B5EF4-FFF2-40B4-BE49-F238E27FC236}">
                <a16:creationId xmlns:a16="http://schemas.microsoft.com/office/drawing/2014/main" id="{072C0268-7C11-4CFF-9C3D-CCEA599A9382}"/>
              </a:ext>
            </a:extLst>
          </p:cNvPr>
          <p:cNvSpPr>
            <a:spLocks noEditPoints="1"/>
          </p:cNvSpPr>
          <p:nvPr/>
        </p:nvSpPr>
        <p:spPr bwMode="auto">
          <a:xfrm>
            <a:off x="1859486" y="2036871"/>
            <a:ext cx="615099" cy="649822"/>
          </a:xfrm>
          <a:custGeom>
            <a:avLst/>
            <a:gdLst>
              <a:gd name="T0" fmla="*/ 168 w 248"/>
              <a:gd name="T1" fmla="*/ 172 h 262"/>
              <a:gd name="T2" fmla="*/ 124 w 248"/>
              <a:gd name="T3" fmla="*/ 186 h 262"/>
              <a:gd name="T4" fmla="*/ 146 w 248"/>
              <a:gd name="T5" fmla="*/ 230 h 262"/>
              <a:gd name="T6" fmla="*/ 98 w 248"/>
              <a:gd name="T7" fmla="*/ 262 h 262"/>
              <a:gd name="T8" fmla="*/ 50 w 248"/>
              <a:gd name="T9" fmla="*/ 156 h 262"/>
              <a:gd name="T10" fmla="*/ 0 w 248"/>
              <a:gd name="T11" fmla="*/ 110 h 262"/>
              <a:gd name="T12" fmla="*/ 110 w 248"/>
              <a:gd name="T13" fmla="*/ 50 h 262"/>
              <a:gd name="T14" fmla="*/ 210 w 248"/>
              <a:gd name="T15" fmla="*/ 20 h 262"/>
              <a:gd name="T16" fmla="*/ 242 w 248"/>
              <a:gd name="T17" fmla="*/ 108 h 262"/>
              <a:gd name="T18" fmla="*/ 178 w 248"/>
              <a:gd name="T19" fmla="*/ 26 h 262"/>
              <a:gd name="T20" fmla="*/ 180 w 248"/>
              <a:gd name="T21" fmla="*/ 32 h 262"/>
              <a:gd name="T22" fmla="*/ 184 w 248"/>
              <a:gd name="T23" fmla="*/ 26 h 262"/>
              <a:gd name="T24" fmla="*/ 180 w 248"/>
              <a:gd name="T25" fmla="*/ 48 h 262"/>
              <a:gd name="T26" fmla="*/ 34 w 248"/>
              <a:gd name="T27" fmla="*/ 102 h 262"/>
              <a:gd name="T28" fmla="*/ 184 w 248"/>
              <a:gd name="T29" fmla="*/ 160 h 262"/>
              <a:gd name="T30" fmla="*/ 70 w 248"/>
              <a:gd name="T31" fmla="*/ 84 h 262"/>
              <a:gd name="T32" fmla="*/ 200 w 248"/>
              <a:gd name="T33" fmla="*/ 34 h 262"/>
              <a:gd name="T34" fmla="*/ 186 w 248"/>
              <a:gd name="T35" fmla="*/ 62 h 262"/>
              <a:gd name="T36" fmla="*/ 198 w 248"/>
              <a:gd name="T37" fmla="*/ 42 h 262"/>
              <a:gd name="T38" fmla="*/ 204 w 248"/>
              <a:gd name="T39" fmla="*/ 54 h 262"/>
              <a:gd name="T40" fmla="*/ 222 w 248"/>
              <a:gd name="T41" fmla="*/ 50 h 262"/>
              <a:gd name="T42" fmla="*/ 226 w 248"/>
              <a:gd name="T43" fmla="*/ 54 h 262"/>
              <a:gd name="T44" fmla="*/ 234 w 248"/>
              <a:gd name="T45" fmla="*/ 60 h 262"/>
              <a:gd name="T46" fmla="*/ 190 w 248"/>
              <a:gd name="T47" fmla="*/ 88 h 262"/>
              <a:gd name="T48" fmla="*/ 226 w 248"/>
              <a:gd name="T49" fmla="*/ 78 h 262"/>
              <a:gd name="T50" fmla="*/ 236 w 248"/>
              <a:gd name="T51" fmla="*/ 66 h 262"/>
              <a:gd name="T52" fmla="*/ 186 w 248"/>
              <a:gd name="T53" fmla="*/ 104 h 262"/>
              <a:gd name="T54" fmla="*/ 228 w 248"/>
              <a:gd name="T55" fmla="*/ 96 h 262"/>
              <a:gd name="T56" fmla="*/ 192 w 248"/>
              <a:gd name="T57" fmla="*/ 104 h 262"/>
              <a:gd name="T58" fmla="*/ 208 w 248"/>
              <a:gd name="T59" fmla="*/ 88 h 262"/>
              <a:gd name="T60" fmla="*/ 222 w 248"/>
              <a:gd name="T61" fmla="*/ 116 h 262"/>
              <a:gd name="T62" fmla="*/ 210 w 248"/>
              <a:gd name="T63" fmla="*/ 96 h 262"/>
              <a:gd name="T64" fmla="*/ 190 w 248"/>
              <a:gd name="T65" fmla="*/ 122 h 262"/>
              <a:gd name="T66" fmla="*/ 16 w 248"/>
              <a:gd name="T67" fmla="*/ 102 h 262"/>
              <a:gd name="T68" fmla="*/ 22 w 248"/>
              <a:gd name="T69" fmla="*/ 108 h 262"/>
              <a:gd name="T70" fmla="*/ 192 w 248"/>
              <a:gd name="T71" fmla="*/ 132 h 262"/>
              <a:gd name="T72" fmla="*/ 206 w 248"/>
              <a:gd name="T73" fmla="*/ 110 h 262"/>
              <a:gd name="T74" fmla="*/ 14 w 248"/>
              <a:gd name="T75" fmla="*/ 134 h 262"/>
              <a:gd name="T76" fmla="*/ 194 w 248"/>
              <a:gd name="T77" fmla="*/ 148 h 262"/>
              <a:gd name="T78" fmla="*/ 202 w 248"/>
              <a:gd name="T79" fmla="*/ 128 h 262"/>
              <a:gd name="T80" fmla="*/ 18 w 248"/>
              <a:gd name="T81" fmla="*/ 144 h 262"/>
              <a:gd name="T82" fmla="*/ 212 w 248"/>
              <a:gd name="T83" fmla="*/ 130 h 262"/>
              <a:gd name="T84" fmla="*/ 28 w 248"/>
              <a:gd name="T85" fmla="*/ 134 h 262"/>
              <a:gd name="T86" fmla="*/ 30 w 248"/>
              <a:gd name="T87" fmla="*/ 150 h 262"/>
              <a:gd name="T88" fmla="*/ 90 w 248"/>
              <a:gd name="T89" fmla="*/ 164 h 262"/>
              <a:gd name="T90" fmla="*/ 94 w 248"/>
              <a:gd name="T91" fmla="*/ 170 h 262"/>
              <a:gd name="T92" fmla="*/ 104 w 248"/>
              <a:gd name="T93" fmla="*/ 168 h 262"/>
              <a:gd name="T94" fmla="*/ 104 w 248"/>
              <a:gd name="T95" fmla="*/ 168 h 262"/>
              <a:gd name="T96" fmla="*/ 112 w 248"/>
              <a:gd name="T97" fmla="*/ 168 h 262"/>
              <a:gd name="T98" fmla="*/ 98 w 248"/>
              <a:gd name="T99" fmla="*/ 202 h 262"/>
              <a:gd name="T100" fmla="*/ 86 w 248"/>
              <a:gd name="T101" fmla="*/ 174 h 262"/>
              <a:gd name="T102" fmla="*/ 106 w 248"/>
              <a:gd name="T103" fmla="*/ 196 h 262"/>
              <a:gd name="T104" fmla="*/ 112 w 248"/>
              <a:gd name="T105" fmla="*/ 190 h 262"/>
              <a:gd name="T106" fmla="*/ 92 w 248"/>
              <a:gd name="T107" fmla="*/ 228 h 262"/>
              <a:gd name="T108" fmla="*/ 116 w 248"/>
              <a:gd name="T109" fmla="*/ 202 h 262"/>
              <a:gd name="T110" fmla="*/ 88 w 248"/>
              <a:gd name="T111" fmla="*/ 244 h 262"/>
              <a:gd name="T112" fmla="*/ 94 w 248"/>
              <a:gd name="T113" fmla="*/ 250 h 262"/>
              <a:gd name="T114" fmla="*/ 110 w 248"/>
              <a:gd name="T115" fmla="*/ 232 h 262"/>
              <a:gd name="T116" fmla="*/ 102 w 248"/>
              <a:gd name="T117" fmla="*/ 252 h 262"/>
              <a:gd name="T118" fmla="*/ 116 w 248"/>
              <a:gd name="T119" fmla="*/ 240 h 262"/>
              <a:gd name="T120" fmla="*/ 122 w 248"/>
              <a:gd name="T121" fmla="*/ 248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8" h="262">
                <a:moveTo>
                  <a:pt x="222" y="128"/>
                </a:moveTo>
                <a:lnTo>
                  <a:pt x="222" y="128"/>
                </a:lnTo>
                <a:lnTo>
                  <a:pt x="224" y="142"/>
                </a:lnTo>
                <a:lnTo>
                  <a:pt x="222" y="156"/>
                </a:lnTo>
                <a:lnTo>
                  <a:pt x="222" y="156"/>
                </a:lnTo>
                <a:lnTo>
                  <a:pt x="220" y="164"/>
                </a:lnTo>
                <a:lnTo>
                  <a:pt x="214" y="168"/>
                </a:lnTo>
                <a:lnTo>
                  <a:pt x="208" y="170"/>
                </a:lnTo>
                <a:lnTo>
                  <a:pt x="196" y="170"/>
                </a:lnTo>
                <a:lnTo>
                  <a:pt x="196" y="170"/>
                </a:lnTo>
                <a:lnTo>
                  <a:pt x="176" y="172"/>
                </a:lnTo>
                <a:lnTo>
                  <a:pt x="176" y="172"/>
                </a:lnTo>
                <a:lnTo>
                  <a:pt x="168" y="172"/>
                </a:lnTo>
                <a:lnTo>
                  <a:pt x="168" y="172"/>
                </a:lnTo>
                <a:lnTo>
                  <a:pt x="164" y="172"/>
                </a:lnTo>
                <a:lnTo>
                  <a:pt x="164" y="172"/>
                </a:lnTo>
                <a:lnTo>
                  <a:pt x="160" y="172"/>
                </a:lnTo>
                <a:lnTo>
                  <a:pt x="160" y="172"/>
                </a:lnTo>
                <a:lnTo>
                  <a:pt x="152" y="172"/>
                </a:lnTo>
                <a:lnTo>
                  <a:pt x="152" y="172"/>
                </a:lnTo>
                <a:lnTo>
                  <a:pt x="142" y="172"/>
                </a:lnTo>
                <a:lnTo>
                  <a:pt x="134" y="170"/>
                </a:lnTo>
                <a:lnTo>
                  <a:pt x="134" y="170"/>
                </a:lnTo>
                <a:lnTo>
                  <a:pt x="134" y="176"/>
                </a:lnTo>
                <a:lnTo>
                  <a:pt x="132" y="180"/>
                </a:lnTo>
                <a:lnTo>
                  <a:pt x="124" y="186"/>
                </a:lnTo>
                <a:lnTo>
                  <a:pt x="124" y="186"/>
                </a:lnTo>
                <a:lnTo>
                  <a:pt x="134" y="192"/>
                </a:lnTo>
                <a:lnTo>
                  <a:pt x="138" y="196"/>
                </a:lnTo>
                <a:lnTo>
                  <a:pt x="140" y="200"/>
                </a:lnTo>
                <a:lnTo>
                  <a:pt x="140" y="200"/>
                </a:lnTo>
                <a:lnTo>
                  <a:pt x="138" y="206"/>
                </a:lnTo>
                <a:lnTo>
                  <a:pt x="134" y="210"/>
                </a:lnTo>
                <a:lnTo>
                  <a:pt x="130" y="214"/>
                </a:lnTo>
                <a:lnTo>
                  <a:pt x="126" y="218"/>
                </a:lnTo>
                <a:lnTo>
                  <a:pt x="126" y="218"/>
                </a:lnTo>
                <a:lnTo>
                  <a:pt x="136" y="224"/>
                </a:lnTo>
                <a:lnTo>
                  <a:pt x="142" y="228"/>
                </a:lnTo>
                <a:lnTo>
                  <a:pt x="146" y="230"/>
                </a:lnTo>
                <a:lnTo>
                  <a:pt x="146" y="230"/>
                </a:lnTo>
                <a:lnTo>
                  <a:pt x="148" y="234"/>
                </a:lnTo>
                <a:lnTo>
                  <a:pt x="146" y="238"/>
                </a:lnTo>
                <a:lnTo>
                  <a:pt x="142" y="246"/>
                </a:lnTo>
                <a:lnTo>
                  <a:pt x="142" y="246"/>
                </a:lnTo>
                <a:lnTo>
                  <a:pt x="140" y="250"/>
                </a:lnTo>
                <a:lnTo>
                  <a:pt x="140" y="250"/>
                </a:lnTo>
                <a:lnTo>
                  <a:pt x="136" y="254"/>
                </a:lnTo>
                <a:lnTo>
                  <a:pt x="130" y="258"/>
                </a:lnTo>
                <a:lnTo>
                  <a:pt x="122" y="262"/>
                </a:lnTo>
                <a:lnTo>
                  <a:pt x="114" y="262"/>
                </a:lnTo>
                <a:lnTo>
                  <a:pt x="114" y="262"/>
                </a:lnTo>
                <a:lnTo>
                  <a:pt x="98" y="262"/>
                </a:lnTo>
                <a:lnTo>
                  <a:pt x="98" y="262"/>
                </a:lnTo>
                <a:lnTo>
                  <a:pt x="86" y="260"/>
                </a:lnTo>
                <a:lnTo>
                  <a:pt x="82" y="258"/>
                </a:lnTo>
                <a:lnTo>
                  <a:pt x="78" y="254"/>
                </a:lnTo>
                <a:lnTo>
                  <a:pt x="78" y="254"/>
                </a:lnTo>
                <a:lnTo>
                  <a:pt x="76" y="230"/>
                </a:lnTo>
                <a:lnTo>
                  <a:pt x="74" y="208"/>
                </a:lnTo>
                <a:lnTo>
                  <a:pt x="72" y="184"/>
                </a:lnTo>
                <a:lnTo>
                  <a:pt x="70" y="160"/>
                </a:lnTo>
                <a:lnTo>
                  <a:pt x="70" y="160"/>
                </a:lnTo>
                <a:lnTo>
                  <a:pt x="60" y="158"/>
                </a:lnTo>
                <a:lnTo>
                  <a:pt x="50" y="156"/>
                </a:lnTo>
                <a:lnTo>
                  <a:pt x="50" y="156"/>
                </a:lnTo>
                <a:lnTo>
                  <a:pt x="44" y="156"/>
                </a:lnTo>
                <a:lnTo>
                  <a:pt x="38" y="158"/>
                </a:lnTo>
                <a:lnTo>
                  <a:pt x="38" y="158"/>
                </a:lnTo>
                <a:lnTo>
                  <a:pt x="30" y="164"/>
                </a:lnTo>
                <a:lnTo>
                  <a:pt x="22" y="168"/>
                </a:lnTo>
                <a:lnTo>
                  <a:pt x="22" y="168"/>
                </a:lnTo>
                <a:lnTo>
                  <a:pt x="16" y="166"/>
                </a:lnTo>
                <a:lnTo>
                  <a:pt x="14" y="164"/>
                </a:lnTo>
                <a:lnTo>
                  <a:pt x="10" y="154"/>
                </a:lnTo>
                <a:lnTo>
                  <a:pt x="10" y="154"/>
                </a:lnTo>
                <a:lnTo>
                  <a:pt x="6" y="140"/>
                </a:lnTo>
                <a:lnTo>
                  <a:pt x="2" y="124"/>
                </a:lnTo>
                <a:lnTo>
                  <a:pt x="0" y="110"/>
                </a:lnTo>
                <a:lnTo>
                  <a:pt x="2" y="94"/>
                </a:lnTo>
                <a:lnTo>
                  <a:pt x="2" y="94"/>
                </a:lnTo>
                <a:lnTo>
                  <a:pt x="8" y="94"/>
                </a:lnTo>
                <a:lnTo>
                  <a:pt x="14" y="94"/>
                </a:lnTo>
                <a:lnTo>
                  <a:pt x="24" y="96"/>
                </a:lnTo>
                <a:lnTo>
                  <a:pt x="24" y="96"/>
                </a:lnTo>
                <a:lnTo>
                  <a:pt x="26" y="94"/>
                </a:lnTo>
                <a:lnTo>
                  <a:pt x="26" y="94"/>
                </a:lnTo>
                <a:lnTo>
                  <a:pt x="26" y="94"/>
                </a:lnTo>
                <a:lnTo>
                  <a:pt x="48" y="84"/>
                </a:lnTo>
                <a:lnTo>
                  <a:pt x="68" y="74"/>
                </a:lnTo>
                <a:lnTo>
                  <a:pt x="110" y="50"/>
                </a:lnTo>
                <a:lnTo>
                  <a:pt x="110" y="50"/>
                </a:lnTo>
                <a:lnTo>
                  <a:pt x="148" y="26"/>
                </a:lnTo>
                <a:lnTo>
                  <a:pt x="148" y="26"/>
                </a:lnTo>
                <a:lnTo>
                  <a:pt x="168" y="14"/>
                </a:lnTo>
                <a:lnTo>
                  <a:pt x="168" y="14"/>
                </a:lnTo>
                <a:lnTo>
                  <a:pt x="178" y="6"/>
                </a:lnTo>
                <a:lnTo>
                  <a:pt x="188" y="0"/>
                </a:lnTo>
                <a:lnTo>
                  <a:pt x="188" y="0"/>
                </a:lnTo>
                <a:lnTo>
                  <a:pt x="192" y="0"/>
                </a:lnTo>
                <a:lnTo>
                  <a:pt x="196" y="0"/>
                </a:lnTo>
                <a:lnTo>
                  <a:pt x="200" y="2"/>
                </a:lnTo>
                <a:lnTo>
                  <a:pt x="204" y="6"/>
                </a:lnTo>
                <a:lnTo>
                  <a:pt x="204" y="6"/>
                </a:lnTo>
                <a:lnTo>
                  <a:pt x="210" y="20"/>
                </a:lnTo>
                <a:lnTo>
                  <a:pt x="212" y="34"/>
                </a:lnTo>
                <a:lnTo>
                  <a:pt x="212" y="34"/>
                </a:lnTo>
                <a:lnTo>
                  <a:pt x="224" y="40"/>
                </a:lnTo>
                <a:lnTo>
                  <a:pt x="234" y="48"/>
                </a:lnTo>
                <a:lnTo>
                  <a:pt x="242" y="58"/>
                </a:lnTo>
                <a:lnTo>
                  <a:pt x="246" y="64"/>
                </a:lnTo>
                <a:lnTo>
                  <a:pt x="248" y="72"/>
                </a:lnTo>
                <a:lnTo>
                  <a:pt x="248" y="72"/>
                </a:lnTo>
                <a:lnTo>
                  <a:pt x="248" y="80"/>
                </a:lnTo>
                <a:lnTo>
                  <a:pt x="248" y="90"/>
                </a:lnTo>
                <a:lnTo>
                  <a:pt x="246" y="100"/>
                </a:lnTo>
                <a:lnTo>
                  <a:pt x="242" y="108"/>
                </a:lnTo>
                <a:lnTo>
                  <a:pt x="242" y="108"/>
                </a:lnTo>
                <a:lnTo>
                  <a:pt x="240" y="112"/>
                </a:lnTo>
                <a:lnTo>
                  <a:pt x="240" y="112"/>
                </a:lnTo>
                <a:lnTo>
                  <a:pt x="232" y="124"/>
                </a:lnTo>
                <a:lnTo>
                  <a:pt x="232" y="124"/>
                </a:lnTo>
                <a:lnTo>
                  <a:pt x="228" y="126"/>
                </a:lnTo>
                <a:lnTo>
                  <a:pt x="222" y="128"/>
                </a:lnTo>
                <a:lnTo>
                  <a:pt x="222" y="128"/>
                </a:lnTo>
                <a:close/>
                <a:moveTo>
                  <a:pt x="182" y="20"/>
                </a:moveTo>
                <a:lnTo>
                  <a:pt x="182" y="20"/>
                </a:lnTo>
                <a:lnTo>
                  <a:pt x="180" y="22"/>
                </a:lnTo>
                <a:lnTo>
                  <a:pt x="178" y="24"/>
                </a:lnTo>
                <a:lnTo>
                  <a:pt x="178" y="26"/>
                </a:lnTo>
                <a:lnTo>
                  <a:pt x="178" y="26"/>
                </a:lnTo>
                <a:lnTo>
                  <a:pt x="182" y="26"/>
                </a:lnTo>
                <a:lnTo>
                  <a:pt x="184" y="22"/>
                </a:lnTo>
                <a:lnTo>
                  <a:pt x="184" y="22"/>
                </a:lnTo>
                <a:lnTo>
                  <a:pt x="188" y="18"/>
                </a:lnTo>
                <a:lnTo>
                  <a:pt x="192" y="12"/>
                </a:lnTo>
                <a:lnTo>
                  <a:pt x="192" y="12"/>
                </a:lnTo>
                <a:lnTo>
                  <a:pt x="186" y="16"/>
                </a:lnTo>
                <a:lnTo>
                  <a:pt x="182" y="20"/>
                </a:lnTo>
                <a:lnTo>
                  <a:pt x="182" y="20"/>
                </a:lnTo>
                <a:close/>
                <a:moveTo>
                  <a:pt x="184" y="26"/>
                </a:moveTo>
                <a:lnTo>
                  <a:pt x="184" y="26"/>
                </a:lnTo>
                <a:lnTo>
                  <a:pt x="180" y="30"/>
                </a:lnTo>
                <a:lnTo>
                  <a:pt x="180" y="32"/>
                </a:lnTo>
                <a:lnTo>
                  <a:pt x="180" y="36"/>
                </a:lnTo>
                <a:lnTo>
                  <a:pt x="180" y="36"/>
                </a:lnTo>
                <a:lnTo>
                  <a:pt x="188" y="28"/>
                </a:lnTo>
                <a:lnTo>
                  <a:pt x="194" y="18"/>
                </a:lnTo>
                <a:lnTo>
                  <a:pt x="194" y="18"/>
                </a:lnTo>
                <a:lnTo>
                  <a:pt x="196" y="18"/>
                </a:lnTo>
                <a:lnTo>
                  <a:pt x="196" y="14"/>
                </a:lnTo>
                <a:lnTo>
                  <a:pt x="196" y="14"/>
                </a:lnTo>
                <a:lnTo>
                  <a:pt x="192" y="16"/>
                </a:lnTo>
                <a:lnTo>
                  <a:pt x="190" y="20"/>
                </a:lnTo>
                <a:lnTo>
                  <a:pt x="188" y="24"/>
                </a:lnTo>
                <a:lnTo>
                  <a:pt x="184" y="26"/>
                </a:lnTo>
                <a:lnTo>
                  <a:pt x="184" y="26"/>
                </a:lnTo>
                <a:close/>
                <a:moveTo>
                  <a:pt x="198" y="20"/>
                </a:moveTo>
                <a:lnTo>
                  <a:pt x="198" y="20"/>
                </a:lnTo>
                <a:lnTo>
                  <a:pt x="198" y="20"/>
                </a:lnTo>
                <a:lnTo>
                  <a:pt x="198" y="20"/>
                </a:lnTo>
                <a:lnTo>
                  <a:pt x="194" y="26"/>
                </a:lnTo>
                <a:lnTo>
                  <a:pt x="190" y="30"/>
                </a:lnTo>
                <a:lnTo>
                  <a:pt x="190" y="30"/>
                </a:lnTo>
                <a:lnTo>
                  <a:pt x="182" y="38"/>
                </a:lnTo>
                <a:lnTo>
                  <a:pt x="182" y="38"/>
                </a:lnTo>
                <a:lnTo>
                  <a:pt x="182" y="42"/>
                </a:lnTo>
                <a:lnTo>
                  <a:pt x="182" y="42"/>
                </a:lnTo>
                <a:lnTo>
                  <a:pt x="180" y="44"/>
                </a:lnTo>
                <a:lnTo>
                  <a:pt x="180" y="48"/>
                </a:lnTo>
                <a:lnTo>
                  <a:pt x="180" y="48"/>
                </a:lnTo>
                <a:lnTo>
                  <a:pt x="186" y="42"/>
                </a:lnTo>
                <a:lnTo>
                  <a:pt x="190" y="38"/>
                </a:lnTo>
                <a:lnTo>
                  <a:pt x="194" y="32"/>
                </a:lnTo>
                <a:lnTo>
                  <a:pt x="198" y="26"/>
                </a:lnTo>
                <a:lnTo>
                  <a:pt x="198" y="26"/>
                </a:lnTo>
                <a:lnTo>
                  <a:pt x="200" y="26"/>
                </a:lnTo>
                <a:lnTo>
                  <a:pt x="200" y="26"/>
                </a:lnTo>
                <a:lnTo>
                  <a:pt x="200" y="26"/>
                </a:lnTo>
                <a:lnTo>
                  <a:pt x="198" y="20"/>
                </a:lnTo>
                <a:lnTo>
                  <a:pt x="198" y="20"/>
                </a:lnTo>
                <a:close/>
                <a:moveTo>
                  <a:pt x="34" y="102"/>
                </a:moveTo>
                <a:lnTo>
                  <a:pt x="34" y="102"/>
                </a:lnTo>
                <a:lnTo>
                  <a:pt x="36" y="124"/>
                </a:lnTo>
                <a:lnTo>
                  <a:pt x="42" y="144"/>
                </a:lnTo>
                <a:lnTo>
                  <a:pt x="42" y="144"/>
                </a:lnTo>
                <a:lnTo>
                  <a:pt x="78" y="150"/>
                </a:lnTo>
                <a:lnTo>
                  <a:pt x="116" y="158"/>
                </a:lnTo>
                <a:lnTo>
                  <a:pt x="116" y="158"/>
                </a:lnTo>
                <a:lnTo>
                  <a:pt x="130" y="160"/>
                </a:lnTo>
                <a:lnTo>
                  <a:pt x="142" y="162"/>
                </a:lnTo>
                <a:lnTo>
                  <a:pt x="142" y="162"/>
                </a:lnTo>
                <a:lnTo>
                  <a:pt x="160" y="162"/>
                </a:lnTo>
                <a:lnTo>
                  <a:pt x="160" y="162"/>
                </a:lnTo>
                <a:lnTo>
                  <a:pt x="172" y="162"/>
                </a:lnTo>
                <a:lnTo>
                  <a:pt x="184" y="160"/>
                </a:lnTo>
                <a:lnTo>
                  <a:pt x="184" y="160"/>
                </a:lnTo>
                <a:lnTo>
                  <a:pt x="176" y="108"/>
                </a:lnTo>
                <a:lnTo>
                  <a:pt x="172" y="54"/>
                </a:lnTo>
                <a:lnTo>
                  <a:pt x="172" y="54"/>
                </a:lnTo>
                <a:lnTo>
                  <a:pt x="170" y="50"/>
                </a:lnTo>
                <a:lnTo>
                  <a:pt x="170" y="50"/>
                </a:lnTo>
                <a:lnTo>
                  <a:pt x="170" y="38"/>
                </a:lnTo>
                <a:lnTo>
                  <a:pt x="168" y="26"/>
                </a:lnTo>
                <a:lnTo>
                  <a:pt x="168" y="26"/>
                </a:lnTo>
                <a:lnTo>
                  <a:pt x="168" y="26"/>
                </a:lnTo>
                <a:lnTo>
                  <a:pt x="168" y="26"/>
                </a:lnTo>
                <a:lnTo>
                  <a:pt x="102" y="66"/>
                </a:lnTo>
                <a:lnTo>
                  <a:pt x="70" y="84"/>
                </a:lnTo>
                <a:lnTo>
                  <a:pt x="34" y="102"/>
                </a:lnTo>
                <a:lnTo>
                  <a:pt x="34" y="102"/>
                </a:lnTo>
                <a:close/>
                <a:moveTo>
                  <a:pt x="200" y="28"/>
                </a:moveTo>
                <a:lnTo>
                  <a:pt x="200" y="28"/>
                </a:lnTo>
                <a:lnTo>
                  <a:pt x="186" y="48"/>
                </a:lnTo>
                <a:lnTo>
                  <a:pt x="186" y="48"/>
                </a:lnTo>
                <a:lnTo>
                  <a:pt x="182" y="54"/>
                </a:lnTo>
                <a:lnTo>
                  <a:pt x="182" y="56"/>
                </a:lnTo>
                <a:lnTo>
                  <a:pt x="182" y="60"/>
                </a:lnTo>
                <a:lnTo>
                  <a:pt x="182" y="60"/>
                </a:lnTo>
                <a:lnTo>
                  <a:pt x="192" y="48"/>
                </a:lnTo>
                <a:lnTo>
                  <a:pt x="200" y="34"/>
                </a:lnTo>
                <a:lnTo>
                  <a:pt x="200" y="34"/>
                </a:lnTo>
                <a:lnTo>
                  <a:pt x="202" y="34"/>
                </a:lnTo>
                <a:lnTo>
                  <a:pt x="202" y="34"/>
                </a:lnTo>
                <a:lnTo>
                  <a:pt x="202" y="28"/>
                </a:lnTo>
                <a:lnTo>
                  <a:pt x="202" y="28"/>
                </a:lnTo>
                <a:lnTo>
                  <a:pt x="200" y="28"/>
                </a:lnTo>
                <a:lnTo>
                  <a:pt x="200" y="28"/>
                </a:lnTo>
                <a:close/>
                <a:moveTo>
                  <a:pt x="198" y="42"/>
                </a:moveTo>
                <a:lnTo>
                  <a:pt x="198" y="42"/>
                </a:lnTo>
                <a:lnTo>
                  <a:pt x="196" y="48"/>
                </a:lnTo>
                <a:lnTo>
                  <a:pt x="192" y="52"/>
                </a:lnTo>
                <a:lnTo>
                  <a:pt x="192" y="52"/>
                </a:lnTo>
                <a:lnTo>
                  <a:pt x="186" y="62"/>
                </a:lnTo>
                <a:lnTo>
                  <a:pt x="186" y="62"/>
                </a:lnTo>
                <a:lnTo>
                  <a:pt x="182" y="66"/>
                </a:lnTo>
                <a:lnTo>
                  <a:pt x="182" y="66"/>
                </a:lnTo>
                <a:lnTo>
                  <a:pt x="184" y="70"/>
                </a:lnTo>
                <a:lnTo>
                  <a:pt x="184" y="70"/>
                </a:lnTo>
                <a:lnTo>
                  <a:pt x="192" y="58"/>
                </a:lnTo>
                <a:lnTo>
                  <a:pt x="202" y="46"/>
                </a:lnTo>
                <a:lnTo>
                  <a:pt x="202" y="46"/>
                </a:lnTo>
                <a:lnTo>
                  <a:pt x="204" y="46"/>
                </a:lnTo>
                <a:lnTo>
                  <a:pt x="204" y="46"/>
                </a:lnTo>
                <a:lnTo>
                  <a:pt x="204" y="46"/>
                </a:lnTo>
                <a:lnTo>
                  <a:pt x="202" y="38"/>
                </a:lnTo>
                <a:lnTo>
                  <a:pt x="202" y="38"/>
                </a:lnTo>
                <a:lnTo>
                  <a:pt x="198" y="42"/>
                </a:lnTo>
                <a:lnTo>
                  <a:pt x="198" y="42"/>
                </a:lnTo>
                <a:close/>
                <a:moveTo>
                  <a:pt x="186" y="74"/>
                </a:moveTo>
                <a:lnTo>
                  <a:pt x="186" y="74"/>
                </a:lnTo>
                <a:lnTo>
                  <a:pt x="184" y="78"/>
                </a:lnTo>
                <a:lnTo>
                  <a:pt x="184" y="80"/>
                </a:lnTo>
                <a:lnTo>
                  <a:pt x="184" y="80"/>
                </a:lnTo>
                <a:lnTo>
                  <a:pt x="190" y="76"/>
                </a:lnTo>
                <a:lnTo>
                  <a:pt x="194" y="70"/>
                </a:lnTo>
                <a:lnTo>
                  <a:pt x="194" y="70"/>
                </a:lnTo>
                <a:lnTo>
                  <a:pt x="198" y="64"/>
                </a:lnTo>
                <a:lnTo>
                  <a:pt x="202" y="58"/>
                </a:lnTo>
                <a:lnTo>
                  <a:pt x="202" y="58"/>
                </a:lnTo>
                <a:lnTo>
                  <a:pt x="204" y="54"/>
                </a:lnTo>
                <a:lnTo>
                  <a:pt x="206" y="52"/>
                </a:lnTo>
                <a:lnTo>
                  <a:pt x="204" y="48"/>
                </a:lnTo>
                <a:lnTo>
                  <a:pt x="204" y="48"/>
                </a:lnTo>
                <a:lnTo>
                  <a:pt x="196" y="62"/>
                </a:lnTo>
                <a:lnTo>
                  <a:pt x="186" y="74"/>
                </a:lnTo>
                <a:lnTo>
                  <a:pt x="186" y="74"/>
                </a:lnTo>
                <a:close/>
                <a:moveTo>
                  <a:pt x="220" y="50"/>
                </a:moveTo>
                <a:lnTo>
                  <a:pt x="220" y="50"/>
                </a:lnTo>
                <a:lnTo>
                  <a:pt x="218" y="54"/>
                </a:lnTo>
                <a:lnTo>
                  <a:pt x="218" y="60"/>
                </a:lnTo>
                <a:lnTo>
                  <a:pt x="218" y="60"/>
                </a:lnTo>
                <a:lnTo>
                  <a:pt x="220" y="56"/>
                </a:lnTo>
                <a:lnTo>
                  <a:pt x="222" y="50"/>
                </a:lnTo>
                <a:lnTo>
                  <a:pt x="222" y="50"/>
                </a:lnTo>
                <a:lnTo>
                  <a:pt x="220" y="50"/>
                </a:lnTo>
                <a:lnTo>
                  <a:pt x="220" y="50"/>
                </a:lnTo>
                <a:close/>
                <a:moveTo>
                  <a:pt x="226" y="54"/>
                </a:moveTo>
                <a:lnTo>
                  <a:pt x="226" y="54"/>
                </a:lnTo>
                <a:lnTo>
                  <a:pt x="222" y="62"/>
                </a:lnTo>
                <a:lnTo>
                  <a:pt x="218" y="66"/>
                </a:lnTo>
                <a:lnTo>
                  <a:pt x="218" y="72"/>
                </a:lnTo>
                <a:lnTo>
                  <a:pt x="218" y="72"/>
                </a:lnTo>
                <a:lnTo>
                  <a:pt x="224" y="64"/>
                </a:lnTo>
                <a:lnTo>
                  <a:pt x="230" y="56"/>
                </a:lnTo>
                <a:lnTo>
                  <a:pt x="230" y="56"/>
                </a:lnTo>
                <a:lnTo>
                  <a:pt x="226" y="54"/>
                </a:lnTo>
                <a:lnTo>
                  <a:pt x="226" y="54"/>
                </a:lnTo>
                <a:close/>
                <a:moveTo>
                  <a:pt x="232" y="60"/>
                </a:moveTo>
                <a:lnTo>
                  <a:pt x="232" y="60"/>
                </a:lnTo>
                <a:lnTo>
                  <a:pt x="232" y="60"/>
                </a:lnTo>
                <a:lnTo>
                  <a:pt x="232" y="60"/>
                </a:lnTo>
                <a:lnTo>
                  <a:pt x="226" y="68"/>
                </a:lnTo>
                <a:lnTo>
                  <a:pt x="220" y="78"/>
                </a:lnTo>
                <a:lnTo>
                  <a:pt x="220" y="78"/>
                </a:lnTo>
                <a:lnTo>
                  <a:pt x="220" y="80"/>
                </a:lnTo>
                <a:lnTo>
                  <a:pt x="220" y="80"/>
                </a:lnTo>
                <a:lnTo>
                  <a:pt x="226" y="70"/>
                </a:lnTo>
                <a:lnTo>
                  <a:pt x="234" y="60"/>
                </a:lnTo>
                <a:lnTo>
                  <a:pt x="234" y="60"/>
                </a:lnTo>
                <a:lnTo>
                  <a:pt x="232" y="60"/>
                </a:lnTo>
                <a:lnTo>
                  <a:pt x="232" y="60"/>
                </a:lnTo>
                <a:close/>
                <a:moveTo>
                  <a:pt x="206" y="60"/>
                </a:moveTo>
                <a:lnTo>
                  <a:pt x="206" y="60"/>
                </a:lnTo>
                <a:lnTo>
                  <a:pt x="186" y="88"/>
                </a:lnTo>
                <a:lnTo>
                  <a:pt x="186" y="88"/>
                </a:lnTo>
                <a:lnTo>
                  <a:pt x="186" y="94"/>
                </a:lnTo>
                <a:lnTo>
                  <a:pt x="186" y="94"/>
                </a:lnTo>
                <a:lnTo>
                  <a:pt x="186" y="92"/>
                </a:lnTo>
                <a:lnTo>
                  <a:pt x="188" y="90"/>
                </a:lnTo>
                <a:lnTo>
                  <a:pt x="188" y="90"/>
                </a:lnTo>
                <a:lnTo>
                  <a:pt x="190" y="88"/>
                </a:lnTo>
                <a:lnTo>
                  <a:pt x="190" y="88"/>
                </a:lnTo>
                <a:lnTo>
                  <a:pt x="198" y="76"/>
                </a:lnTo>
                <a:lnTo>
                  <a:pt x="206" y="64"/>
                </a:lnTo>
                <a:lnTo>
                  <a:pt x="206" y="64"/>
                </a:lnTo>
                <a:lnTo>
                  <a:pt x="206" y="60"/>
                </a:lnTo>
                <a:lnTo>
                  <a:pt x="206" y="60"/>
                </a:lnTo>
                <a:lnTo>
                  <a:pt x="206" y="60"/>
                </a:lnTo>
                <a:lnTo>
                  <a:pt x="206" y="60"/>
                </a:lnTo>
                <a:close/>
                <a:moveTo>
                  <a:pt x="236" y="66"/>
                </a:moveTo>
                <a:lnTo>
                  <a:pt x="236" y="66"/>
                </a:lnTo>
                <a:lnTo>
                  <a:pt x="234" y="66"/>
                </a:lnTo>
                <a:lnTo>
                  <a:pt x="234" y="66"/>
                </a:lnTo>
                <a:lnTo>
                  <a:pt x="230" y="72"/>
                </a:lnTo>
                <a:lnTo>
                  <a:pt x="226" y="78"/>
                </a:lnTo>
                <a:lnTo>
                  <a:pt x="226" y="78"/>
                </a:lnTo>
                <a:lnTo>
                  <a:pt x="222" y="84"/>
                </a:lnTo>
                <a:lnTo>
                  <a:pt x="220" y="88"/>
                </a:lnTo>
                <a:lnTo>
                  <a:pt x="220" y="92"/>
                </a:lnTo>
                <a:lnTo>
                  <a:pt x="220" y="92"/>
                </a:lnTo>
                <a:lnTo>
                  <a:pt x="220" y="92"/>
                </a:lnTo>
                <a:lnTo>
                  <a:pt x="220" y="94"/>
                </a:lnTo>
                <a:lnTo>
                  <a:pt x="220" y="94"/>
                </a:lnTo>
                <a:lnTo>
                  <a:pt x="230" y="82"/>
                </a:lnTo>
                <a:lnTo>
                  <a:pt x="236" y="70"/>
                </a:lnTo>
                <a:lnTo>
                  <a:pt x="236" y="70"/>
                </a:lnTo>
                <a:lnTo>
                  <a:pt x="236" y="66"/>
                </a:lnTo>
                <a:lnTo>
                  <a:pt x="236" y="66"/>
                </a:lnTo>
                <a:close/>
                <a:moveTo>
                  <a:pt x="206" y="70"/>
                </a:moveTo>
                <a:lnTo>
                  <a:pt x="206" y="70"/>
                </a:lnTo>
                <a:lnTo>
                  <a:pt x="204" y="74"/>
                </a:lnTo>
                <a:lnTo>
                  <a:pt x="202" y="78"/>
                </a:lnTo>
                <a:lnTo>
                  <a:pt x="202" y="78"/>
                </a:lnTo>
                <a:lnTo>
                  <a:pt x="198" y="82"/>
                </a:lnTo>
                <a:lnTo>
                  <a:pt x="196" y="88"/>
                </a:lnTo>
                <a:lnTo>
                  <a:pt x="196" y="88"/>
                </a:lnTo>
                <a:lnTo>
                  <a:pt x="192" y="92"/>
                </a:lnTo>
                <a:lnTo>
                  <a:pt x="188" y="98"/>
                </a:lnTo>
                <a:lnTo>
                  <a:pt x="188" y="98"/>
                </a:lnTo>
                <a:lnTo>
                  <a:pt x="186" y="100"/>
                </a:lnTo>
                <a:lnTo>
                  <a:pt x="186" y="104"/>
                </a:lnTo>
                <a:lnTo>
                  <a:pt x="186" y="104"/>
                </a:lnTo>
                <a:lnTo>
                  <a:pt x="198" y="90"/>
                </a:lnTo>
                <a:lnTo>
                  <a:pt x="208" y="76"/>
                </a:lnTo>
                <a:lnTo>
                  <a:pt x="208" y="76"/>
                </a:lnTo>
                <a:lnTo>
                  <a:pt x="208" y="72"/>
                </a:lnTo>
                <a:lnTo>
                  <a:pt x="208" y="72"/>
                </a:lnTo>
                <a:lnTo>
                  <a:pt x="206" y="70"/>
                </a:lnTo>
                <a:lnTo>
                  <a:pt x="206" y="70"/>
                </a:lnTo>
                <a:close/>
                <a:moveTo>
                  <a:pt x="220" y="104"/>
                </a:moveTo>
                <a:lnTo>
                  <a:pt x="220" y="104"/>
                </a:lnTo>
                <a:lnTo>
                  <a:pt x="224" y="100"/>
                </a:lnTo>
                <a:lnTo>
                  <a:pt x="228" y="96"/>
                </a:lnTo>
                <a:lnTo>
                  <a:pt x="228" y="96"/>
                </a:lnTo>
                <a:lnTo>
                  <a:pt x="232" y="90"/>
                </a:lnTo>
                <a:lnTo>
                  <a:pt x="234" y="86"/>
                </a:lnTo>
                <a:lnTo>
                  <a:pt x="234" y="86"/>
                </a:lnTo>
                <a:lnTo>
                  <a:pt x="238" y="82"/>
                </a:lnTo>
                <a:lnTo>
                  <a:pt x="238" y="76"/>
                </a:lnTo>
                <a:lnTo>
                  <a:pt x="238" y="76"/>
                </a:lnTo>
                <a:lnTo>
                  <a:pt x="236" y="76"/>
                </a:lnTo>
                <a:lnTo>
                  <a:pt x="236" y="76"/>
                </a:lnTo>
                <a:lnTo>
                  <a:pt x="228" y="90"/>
                </a:lnTo>
                <a:lnTo>
                  <a:pt x="220" y="104"/>
                </a:lnTo>
                <a:lnTo>
                  <a:pt x="220" y="104"/>
                </a:lnTo>
                <a:close/>
                <a:moveTo>
                  <a:pt x="192" y="104"/>
                </a:moveTo>
                <a:lnTo>
                  <a:pt x="192" y="104"/>
                </a:lnTo>
                <a:lnTo>
                  <a:pt x="190" y="108"/>
                </a:lnTo>
                <a:lnTo>
                  <a:pt x="190" y="108"/>
                </a:lnTo>
                <a:lnTo>
                  <a:pt x="188" y="108"/>
                </a:lnTo>
                <a:lnTo>
                  <a:pt x="188" y="110"/>
                </a:lnTo>
                <a:lnTo>
                  <a:pt x="188" y="116"/>
                </a:lnTo>
                <a:lnTo>
                  <a:pt x="188" y="116"/>
                </a:lnTo>
                <a:lnTo>
                  <a:pt x="194" y="108"/>
                </a:lnTo>
                <a:lnTo>
                  <a:pt x="200" y="100"/>
                </a:lnTo>
                <a:lnTo>
                  <a:pt x="200" y="100"/>
                </a:lnTo>
                <a:lnTo>
                  <a:pt x="204" y="96"/>
                </a:lnTo>
                <a:lnTo>
                  <a:pt x="204" y="96"/>
                </a:lnTo>
                <a:lnTo>
                  <a:pt x="208" y="88"/>
                </a:lnTo>
                <a:lnTo>
                  <a:pt x="208" y="88"/>
                </a:lnTo>
                <a:lnTo>
                  <a:pt x="208" y="86"/>
                </a:lnTo>
                <a:lnTo>
                  <a:pt x="208" y="82"/>
                </a:lnTo>
                <a:lnTo>
                  <a:pt x="208" y="82"/>
                </a:lnTo>
                <a:lnTo>
                  <a:pt x="192" y="104"/>
                </a:lnTo>
                <a:lnTo>
                  <a:pt x="192" y="104"/>
                </a:lnTo>
                <a:close/>
                <a:moveTo>
                  <a:pt x="234" y="92"/>
                </a:moveTo>
                <a:lnTo>
                  <a:pt x="234" y="92"/>
                </a:lnTo>
                <a:lnTo>
                  <a:pt x="226" y="104"/>
                </a:lnTo>
                <a:lnTo>
                  <a:pt x="226" y="104"/>
                </a:lnTo>
                <a:lnTo>
                  <a:pt x="222" y="110"/>
                </a:lnTo>
                <a:lnTo>
                  <a:pt x="222" y="112"/>
                </a:lnTo>
                <a:lnTo>
                  <a:pt x="222" y="116"/>
                </a:lnTo>
                <a:lnTo>
                  <a:pt x="222" y="116"/>
                </a:lnTo>
                <a:lnTo>
                  <a:pt x="230" y="106"/>
                </a:lnTo>
                <a:lnTo>
                  <a:pt x="234" y="100"/>
                </a:lnTo>
                <a:lnTo>
                  <a:pt x="236" y="92"/>
                </a:lnTo>
                <a:lnTo>
                  <a:pt x="236" y="92"/>
                </a:lnTo>
                <a:lnTo>
                  <a:pt x="234" y="92"/>
                </a:lnTo>
                <a:lnTo>
                  <a:pt x="234" y="92"/>
                </a:lnTo>
                <a:close/>
                <a:moveTo>
                  <a:pt x="200" y="114"/>
                </a:moveTo>
                <a:lnTo>
                  <a:pt x="200" y="114"/>
                </a:lnTo>
                <a:lnTo>
                  <a:pt x="206" y="102"/>
                </a:lnTo>
                <a:lnTo>
                  <a:pt x="206" y="102"/>
                </a:lnTo>
                <a:lnTo>
                  <a:pt x="208" y="100"/>
                </a:lnTo>
                <a:lnTo>
                  <a:pt x="210" y="96"/>
                </a:lnTo>
                <a:lnTo>
                  <a:pt x="210" y="96"/>
                </a:lnTo>
                <a:lnTo>
                  <a:pt x="208" y="94"/>
                </a:lnTo>
                <a:lnTo>
                  <a:pt x="208" y="94"/>
                </a:lnTo>
                <a:lnTo>
                  <a:pt x="204" y="102"/>
                </a:lnTo>
                <a:lnTo>
                  <a:pt x="204" y="102"/>
                </a:lnTo>
                <a:lnTo>
                  <a:pt x="198" y="110"/>
                </a:lnTo>
                <a:lnTo>
                  <a:pt x="198" y="110"/>
                </a:lnTo>
                <a:lnTo>
                  <a:pt x="196" y="112"/>
                </a:lnTo>
                <a:lnTo>
                  <a:pt x="196" y="112"/>
                </a:lnTo>
                <a:lnTo>
                  <a:pt x="194" y="114"/>
                </a:lnTo>
                <a:lnTo>
                  <a:pt x="194" y="114"/>
                </a:lnTo>
                <a:lnTo>
                  <a:pt x="192" y="118"/>
                </a:lnTo>
                <a:lnTo>
                  <a:pt x="192" y="118"/>
                </a:lnTo>
                <a:lnTo>
                  <a:pt x="190" y="122"/>
                </a:lnTo>
                <a:lnTo>
                  <a:pt x="188" y="124"/>
                </a:lnTo>
                <a:lnTo>
                  <a:pt x="190" y="126"/>
                </a:lnTo>
                <a:lnTo>
                  <a:pt x="190" y="126"/>
                </a:lnTo>
                <a:lnTo>
                  <a:pt x="192" y="124"/>
                </a:lnTo>
                <a:lnTo>
                  <a:pt x="194" y="120"/>
                </a:lnTo>
                <a:lnTo>
                  <a:pt x="196" y="118"/>
                </a:lnTo>
                <a:lnTo>
                  <a:pt x="200" y="114"/>
                </a:lnTo>
                <a:lnTo>
                  <a:pt x="200" y="114"/>
                </a:lnTo>
                <a:close/>
                <a:moveTo>
                  <a:pt x="12" y="112"/>
                </a:moveTo>
                <a:lnTo>
                  <a:pt x="12" y="112"/>
                </a:lnTo>
                <a:lnTo>
                  <a:pt x="14" y="108"/>
                </a:lnTo>
                <a:lnTo>
                  <a:pt x="16" y="102"/>
                </a:lnTo>
                <a:lnTo>
                  <a:pt x="16" y="102"/>
                </a:lnTo>
                <a:lnTo>
                  <a:pt x="12" y="106"/>
                </a:lnTo>
                <a:lnTo>
                  <a:pt x="12" y="112"/>
                </a:lnTo>
                <a:lnTo>
                  <a:pt x="12" y="112"/>
                </a:lnTo>
                <a:close/>
                <a:moveTo>
                  <a:pt x="22" y="104"/>
                </a:moveTo>
                <a:lnTo>
                  <a:pt x="22" y="104"/>
                </a:lnTo>
                <a:lnTo>
                  <a:pt x="16" y="114"/>
                </a:lnTo>
                <a:lnTo>
                  <a:pt x="12" y="118"/>
                </a:lnTo>
                <a:lnTo>
                  <a:pt x="12" y="124"/>
                </a:lnTo>
                <a:lnTo>
                  <a:pt x="12" y="124"/>
                </a:lnTo>
                <a:lnTo>
                  <a:pt x="16" y="118"/>
                </a:lnTo>
                <a:lnTo>
                  <a:pt x="20" y="112"/>
                </a:lnTo>
                <a:lnTo>
                  <a:pt x="20" y="112"/>
                </a:lnTo>
                <a:lnTo>
                  <a:pt x="22" y="108"/>
                </a:lnTo>
                <a:lnTo>
                  <a:pt x="22" y="104"/>
                </a:lnTo>
                <a:lnTo>
                  <a:pt x="22" y="104"/>
                </a:lnTo>
                <a:lnTo>
                  <a:pt x="22" y="104"/>
                </a:lnTo>
                <a:lnTo>
                  <a:pt x="22" y="104"/>
                </a:lnTo>
                <a:close/>
                <a:moveTo>
                  <a:pt x="206" y="110"/>
                </a:moveTo>
                <a:lnTo>
                  <a:pt x="206" y="110"/>
                </a:lnTo>
                <a:lnTo>
                  <a:pt x="200" y="118"/>
                </a:lnTo>
                <a:lnTo>
                  <a:pt x="200" y="118"/>
                </a:lnTo>
                <a:lnTo>
                  <a:pt x="196" y="122"/>
                </a:lnTo>
                <a:lnTo>
                  <a:pt x="196" y="122"/>
                </a:lnTo>
                <a:lnTo>
                  <a:pt x="196" y="126"/>
                </a:lnTo>
                <a:lnTo>
                  <a:pt x="196" y="126"/>
                </a:lnTo>
                <a:lnTo>
                  <a:pt x="192" y="132"/>
                </a:lnTo>
                <a:lnTo>
                  <a:pt x="190" y="134"/>
                </a:lnTo>
                <a:lnTo>
                  <a:pt x="190" y="138"/>
                </a:lnTo>
                <a:lnTo>
                  <a:pt x="190" y="138"/>
                </a:lnTo>
                <a:lnTo>
                  <a:pt x="196" y="132"/>
                </a:lnTo>
                <a:lnTo>
                  <a:pt x="200" y="124"/>
                </a:lnTo>
                <a:lnTo>
                  <a:pt x="200" y="124"/>
                </a:lnTo>
                <a:lnTo>
                  <a:pt x="208" y="116"/>
                </a:lnTo>
                <a:lnTo>
                  <a:pt x="210" y="110"/>
                </a:lnTo>
                <a:lnTo>
                  <a:pt x="210" y="104"/>
                </a:lnTo>
                <a:lnTo>
                  <a:pt x="210" y="104"/>
                </a:lnTo>
                <a:lnTo>
                  <a:pt x="208" y="106"/>
                </a:lnTo>
                <a:lnTo>
                  <a:pt x="206" y="110"/>
                </a:lnTo>
                <a:lnTo>
                  <a:pt x="206" y="110"/>
                </a:lnTo>
                <a:close/>
                <a:moveTo>
                  <a:pt x="14" y="134"/>
                </a:moveTo>
                <a:lnTo>
                  <a:pt x="14" y="134"/>
                </a:lnTo>
                <a:lnTo>
                  <a:pt x="22" y="122"/>
                </a:lnTo>
                <a:lnTo>
                  <a:pt x="22" y="122"/>
                </a:lnTo>
                <a:lnTo>
                  <a:pt x="24" y="118"/>
                </a:lnTo>
                <a:lnTo>
                  <a:pt x="24" y="112"/>
                </a:lnTo>
                <a:lnTo>
                  <a:pt x="24" y="112"/>
                </a:lnTo>
                <a:lnTo>
                  <a:pt x="24" y="112"/>
                </a:lnTo>
                <a:lnTo>
                  <a:pt x="24" y="112"/>
                </a:lnTo>
                <a:lnTo>
                  <a:pt x="18" y="124"/>
                </a:lnTo>
                <a:lnTo>
                  <a:pt x="16" y="128"/>
                </a:lnTo>
                <a:lnTo>
                  <a:pt x="14" y="134"/>
                </a:lnTo>
                <a:lnTo>
                  <a:pt x="14" y="134"/>
                </a:lnTo>
                <a:close/>
                <a:moveTo>
                  <a:pt x="202" y="128"/>
                </a:moveTo>
                <a:lnTo>
                  <a:pt x="202" y="128"/>
                </a:lnTo>
                <a:lnTo>
                  <a:pt x="198" y="134"/>
                </a:lnTo>
                <a:lnTo>
                  <a:pt x="198" y="134"/>
                </a:lnTo>
                <a:lnTo>
                  <a:pt x="196" y="138"/>
                </a:lnTo>
                <a:lnTo>
                  <a:pt x="196" y="138"/>
                </a:lnTo>
                <a:lnTo>
                  <a:pt x="194" y="140"/>
                </a:lnTo>
                <a:lnTo>
                  <a:pt x="194" y="140"/>
                </a:lnTo>
                <a:lnTo>
                  <a:pt x="192" y="144"/>
                </a:lnTo>
                <a:lnTo>
                  <a:pt x="192" y="148"/>
                </a:lnTo>
                <a:lnTo>
                  <a:pt x="192" y="148"/>
                </a:lnTo>
                <a:lnTo>
                  <a:pt x="194" y="148"/>
                </a:lnTo>
                <a:lnTo>
                  <a:pt x="194" y="148"/>
                </a:lnTo>
                <a:lnTo>
                  <a:pt x="194" y="148"/>
                </a:lnTo>
                <a:lnTo>
                  <a:pt x="202" y="136"/>
                </a:lnTo>
                <a:lnTo>
                  <a:pt x="202" y="136"/>
                </a:lnTo>
                <a:lnTo>
                  <a:pt x="208" y="126"/>
                </a:lnTo>
                <a:lnTo>
                  <a:pt x="208" y="126"/>
                </a:lnTo>
                <a:lnTo>
                  <a:pt x="210" y="124"/>
                </a:lnTo>
                <a:lnTo>
                  <a:pt x="212" y="124"/>
                </a:lnTo>
                <a:lnTo>
                  <a:pt x="212" y="124"/>
                </a:lnTo>
                <a:lnTo>
                  <a:pt x="212" y="120"/>
                </a:lnTo>
                <a:lnTo>
                  <a:pt x="210" y="118"/>
                </a:lnTo>
                <a:lnTo>
                  <a:pt x="210" y="118"/>
                </a:lnTo>
                <a:lnTo>
                  <a:pt x="202" y="128"/>
                </a:lnTo>
                <a:lnTo>
                  <a:pt x="202" y="128"/>
                </a:lnTo>
                <a:close/>
                <a:moveTo>
                  <a:pt x="18" y="144"/>
                </a:moveTo>
                <a:lnTo>
                  <a:pt x="18" y="144"/>
                </a:lnTo>
                <a:lnTo>
                  <a:pt x="20" y="142"/>
                </a:lnTo>
                <a:lnTo>
                  <a:pt x="22" y="138"/>
                </a:lnTo>
                <a:lnTo>
                  <a:pt x="22" y="138"/>
                </a:lnTo>
                <a:lnTo>
                  <a:pt x="26" y="132"/>
                </a:lnTo>
                <a:lnTo>
                  <a:pt x="26" y="128"/>
                </a:lnTo>
                <a:lnTo>
                  <a:pt x="26" y="124"/>
                </a:lnTo>
                <a:lnTo>
                  <a:pt x="26" y="124"/>
                </a:lnTo>
                <a:lnTo>
                  <a:pt x="20" y="134"/>
                </a:lnTo>
                <a:lnTo>
                  <a:pt x="18" y="138"/>
                </a:lnTo>
                <a:lnTo>
                  <a:pt x="18" y="144"/>
                </a:lnTo>
                <a:lnTo>
                  <a:pt x="18" y="144"/>
                </a:lnTo>
                <a:close/>
                <a:moveTo>
                  <a:pt x="204" y="140"/>
                </a:moveTo>
                <a:lnTo>
                  <a:pt x="204" y="140"/>
                </a:lnTo>
                <a:lnTo>
                  <a:pt x="196" y="150"/>
                </a:lnTo>
                <a:lnTo>
                  <a:pt x="196" y="150"/>
                </a:lnTo>
                <a:lnTo>
                  <a:pt x="194" y="156"/>
                </a:lnTo>
                <a:lnTo>
                  <a:pt x="194" y="158"/>
                </a:lnTo>
                <a:lnTo>
                  <a:pt x="194" y="162"/>
                </a:lnTo>
                <a:lnTo>
                  <a:pt x="194" y="162"/>
                </a:lnTo>
                <a:lnTo>
                  <a:pt x="204" y="150"/>
                </a:lnTo>
                <a:lnTo>
                  <a:pt x="212" y="138"/>
                </a:lnTo>
                <a:lnTo>
                  <a:pt x="212" y="138"/>
                </a:lnTo>
                <a:lnTo>
                  <a:pt x="212" y="132"/>
                </a:lnTo>
                <a:lnTo>
                  <a:pt x="212" y="130"/>
                </a:lnTo>
                <a:lnTo>
                  <a:pt x="212" y="130"/>
                </a:lnTo>
                <a:lnTo>
                  <a:pt x="204" y="140"/>
                </a:lnTo>
                <a:lnTo>
                  <a:pt x="204" y="140"/>
                </a:lnTo>
                <a:close/>
                <a:moveTo>
                  <a:pt x="20" y="148"/>
                </a:moveTo>
                <a:lnTo>
                  <a:pt x="20" y="148"/>
                </a:lnTo>
                <a:lnTo>
                  <a:pt x="20" y="152"/>
                </a:lnTo>
                <a:lnTo>
                  <a:pt x="20" y="154"/>
                </a:lnTo>
                <a:lnTo>
                  <a:pt x="22" y="156"/>
                </a:lnTo>
                <a:lnTo>
                  <a:pt x="22" y="156"/>
                </a:lnTo>
                <a:lnTo>
                  <a:pt x="26" y="148"/>
                </a:lnTo>
                <a:lnTo>
                  <a:pt x="30" y="140"/>
                </a:lnTo>
                <a:lnTo>
                  <a:pt x="30" y="140"/>
                </a:lnTo>
                <a:lnTo>
                  <a:pt x="28" y="134"/>
                </a:lnTo>
                <a:lnTo>
                  <a:pt x="28" y="134"/>
                </a:lnTo>
                <a:lnTo>
                  <a:pt x="20" y="148"/>
                </a:lnTo>
                <a:lnTo>
                  <a:pt x="20" y="148"/>
                </a:lnTo>
                <a:close/>
                <a:moveTo>
                  <a:pt x="200" y="160"/>
                </a:moveTo>
                <a:lnTo>
                  <a:pt x="200" y="160"/>
                </a:lnTo>
                <a:lnTo>
                  <a:pt x="210" y="160"/>
                </a:lnTo>
                <a:lnTo>
                  <a:pt x="210" y="160"/>
                </a:lnTo>
                <a:lnTo>
                  <a:pt x="212" y="152"/>
                </a:lnTo>
                <a:lnTo>
                  <a:pt x="212" y="144"/>
                </a:lnTo>
                <a:lnTo>
                  <a:pt x="212" y="144"/>
                </a:lnTo>
                <a:lnTo>
                  <a:pt x="200" y="160"/>
                </a:lnTo>
                <a:lnTo>
                  <a:pt x="200" y="160"/>
                </a:lnTo>
                <a:close/>
                <a:moveTo>
                  <a:pt x="30" y="150"/>
                </a:moveTo>
                <a:lnTo>
                  <a:pt x="30" y="150"/>
                </a:lnTo>
                <a:lnTo>
                  <a:pt x="32" y="148"/>
                </a:lnTo>
                <a:lnTo>
                  <a:pt x="32" y="148"/>
                </a:lnTo>
                <a:lnTo>
                  <a:pt x="32" y="146"/>
                </a:lnTo>
                <a:lnTo>
                  <a:pt x="32" y="146"/>
                </a:lnTo>
                <a:lnTo>
                  <a:pt x="30" y="148"/>
                </a:lnTo>
                <a:lnTo>
                  <a:pt x="30" y="150"/>
                </a:lnTo>
                <a:lnTo>
                  <a:pt x="30" y="150"/>
                </a:lnTo>
                <a:close/>
                <a:moveTo>
                  <a:pt x="82" y="172"/>
                </a:moveTo>
                <a:lnTo>
                  <a:pt x="82" y="172"/>
                </a:lnTo>
                <a:lnTo>
                  <a:pt x="86" y="168"/>
                </a:lnTo>
                <a:lnTo>
                  <a:pt x="88" y="166"/>
                </a:lnTo>
                <a:lnTo>
                  <a:pt x="90" y="164"/>
                </a:lnTo>
                <a:lnTo>
                  <a:pt x="90" y="164"/>
                </a:lnTo>
                <a:lnTo>
                  <a:pt x="92" y="166"/>
                </a:lnTo>
                <a:lnTo>
                  <a:pt x="92" y="166"/>
                </a:lnTo>
                <a:lnTo>
                  <a:pt x="92" y="166"/>
                </a:lnTo>
                <a:lnTo>
                  <a:pt x="94" y="164"/>
                </a:lnTo>
                <a:lnTo>
                  <a:pt x="94" y="164"/>
                </a:lnTo>
                <a:lnTo>
                  <a:pt x="82" y="162"/>
                </a:lnTo>
                <a:lnTo>
                  <a:pt x="82" y="162"/>
                </a:lnTo>
                <a:lnTo>
                  <a:pt x="82" y="172"/>
                </a:lnTo>
                <a:lnTo>
                  <a:pt x="82" y="172"/>
                </a:lnTo>
                <a:close/>
                <a:moveTo>
                  <a:pt x="98" y="166"/>
                </a:moveTo>
                <a:lnTo>
                  <a:pt x="98" y="166"/>
                </a:lnTo>
                <a:lnTo>
                  <a:pt x="94" y="170"/>
                </a:lnTo>
                <a:lnTo>
                  <a:pt x="94" y="170"/>
                </a:lnTo>
                <a:lnTo>
                  <a:pt x="88" y="178"/>
                </a:lnTo>
                <a:lnTo>
                  <a:pt x="84" y="188"/>
                </a:lnTo>
                <a:lnTo>
                  <a:pt x="84" y="188"/>
                </a:lnTo>
                <a:lnTo>
                  <a:pt x="90" y="180"/>
                </a:lnTo>
                <a:lnTo>
                  <a:pt x="96" y="174"/>
                </a:lnTo>
                <a:lnTo>
                  <a:pt x="96" y="174"/>
                </a:lnTo>
                <a:lnTo>
                  <a:pt x="98" y="170"/>
                </a:lnTo>
                <a:lnTo>
                  <a:pt x="100" y="166"/>
                </a:lnTo>
                <a:lnTo>
                  <a:pt x="100" y="166"/>
                </a:lnTo>
                <a:lnTo>
                  <a:pt x="98" y="166"/>
                </a:lnTo>
                <a:lnTo>
                  <a:pt x="98" y="166"/>
                </a:lnTo>
                <a:close/>
                <a:moveTo>
                  <a:pt x="104" y="168"/>
                </a:moveTo>
                <a:lnTo>
                  <a:pt x="104" y="168"/>
                </a:lnTo>
                <a:lnTo>
                  <a:pt x="96" y="180"/>
                </a:lnTo>
                <a:lnTo>
                  <a:pt x="86" y="192"/>
                </a:lnTo>
                <a:lnTo>
                  <a:pt x="86" y="192"/>
                </a:lnTo>
                <a:lnTo>
                  <a:pt x="90" y="190"/>
                </a:lnTo>
                <a:lnTo>
                  <a:pt x="92" y="188"/>
                </a:lnTo>
                <a:lnTo>
                  <a:pt x="96" y="182"/>
                </a:lnTo>
                <a:lnTo>
                  <a:pt x="96" y="182"/>
                </a:lnTo>
                <a:lnTo>
                  <a:pt x="102" y="176"/>
                </a:lnTo>
                <a:lnTo>
                  <a:pt x="106" y="168"/>
                </a:lnTo>
                <a:lnTo>
                  <a:pt x="106" y="168"/>
                </a:lnTo>
                <a:lnTo>
                  <a:pt x="106" y="168"/>
                </a:lnTo>
                <a:lnTo>
                  <a:pt x="104" y="168"/>
                </a:lnTo>
                <a:lnTo>
                  <a:pt x="104" y="168"/>
                </a:lnTo>
                <a:close/>
                <a:moveTo>
                  <a:pt x="112" y="168"/>
                </a:moveTo>
                <a:lnTo>
                  <a:pt x="112" y="168"/>
                </a:lnTo>
                <a:lnTo>
                  <a:pt x="98" y="186"/>
                </a:lnTo>
                <a:lnTo>
                  <a:pt x="86" y="204"/>
                </a:lnTo>
                <a:lnTo>
                  <a:pt x="86" y="204"/>
                </a:lnTo>
                <a:lnTo>
                  <a:pt x="92" y="196"/>
                </a:lnTo>
                <a:lnTo>
                  <a:pt x="100" y="188"/>
                </a:lnTo>
                <a:lnTo>
                  <a:pt x="100" y="188"/>
                </a:lnTo>
                <a:lnTo>
                  <a:pt x="106" y="178"/>
                </a:lnTo>
                <a:lnTo>
                  <a:pt x="110" y="174"/>
                </a:lnTo>
                <a:lnTo>
                  <a:pt x="112" y="168"/>
                </a:lnTo>
                <a:lnTo>
                  <a:pt x="112" y="168"/>
                </a:lnTo>
                <a:lnTo>
                  <a:pt x="112" y="168"/>
                </a:lnTo>
                <a:lnTo>
                  <a:pt x="112" y="168"/>
                </a:lnTo>
                <a:close/>
                <a:moveTo>
                  <a:pt x="118" y="168"/>
                </a:moveTo>
                <a:lnTo>
                  <a:pt x="118" y="168"/>
                </a:lnTo>
                <a:lnTo>
                  <a:pt x="86" y="210"/>
                </a:lnTo>
                <a:lnTo>
                  <a:pt x="86" y="210"/>
                </a:lnTo>
                <a:lnTo>
                  <a:pt x="84" y="216"/>
                </a:lnTo>
                <a:lnTo>
                  <a:pt x="84" y="216"/>
                </a:lnTo>
                <a:lnTo>
                  <a:pt x="90" y="212"/>
                </a:lnTo>
                <a:lnTo>
                  <a:pt x="94" y="206"/>
                </a:lnTo>
                <a:lnTo>
                  <a:pt x="94" y="206"/>
                </a:lnTo>
                <a:lnTo>
                  <a:pt x="98" y="202"/>
                </a:lnTo>
                <a:lnTo>
                  <a:pt x="98" y="202"/>
                </a:lnTo>
                <a:lnTo>
                  <a:pt x="102" y="196"/>
                </a:lnTo>
                <a:lnTo>
                  <a:pt x="102" y="196"/>
                </a:lnTo>
                <a:lnTo>
                  <a:pt x="110" y="186"/>
                </a:lnTo>
                <a:lnTo>
                  <a:pt x="110" y="186"/>
                </a:lnTo>
                <a:lnTo>
                  <a:pt x="116" y="178"/>
                </a:lnTo>
                <a:lnTo>
                  <a:pt x="116" y="178"/>
                </a:lnTo>
                <a:lnTo>
                  <a:pt x="122" y="174"/>
                </a:lnTo>
                <a:lnTo>
                  <a:pt x="122" y="174"/>
                </a:lnTo>
                <a:lnTo>
                  <a:pt x="120" y="168"/>
                </a:lnTo>
                <a:lnTo>
                  <a:pt x="120" y="168"/>
                </a:lnTo>
                <a:lnTo>
                  <a:pt x="118" y="168"/>
                </a:lnTo>
                <a:lnTo>
                  <a:pt x="118" y="168"/>
                </a:lnTo>
                <a:close/>
                <a:moveTo>
                  <a:pt x="86" y="174"/>
                </a:moveTo>
                <a:lnTo>
                  <a:pt x="86" y="174"/>
                </a:lnTo>
                <a:lnTo>
                  <a:pt x="86" y="174"/>
                </a:lnTo>
                <a:lnTo>
                  <a:pt x="86" y="174"/>
                </a:lnTo>
                <a:lnTo>
                  <a:pt x="86" y="174"/>
                </a:lnTo>
                <a:lnTo>
                  <a:pt x="86" y="174"/>
                </a:lnTo>
                <a:lnTo>
                  <a:pt x="86" y="174"/>
                </a:lnTo>
                <a:lnTo>
                  <a:pt x="86" y="174"/>
                </a:lnTo>
                <a:close/>
                <a:moveTo>
                  <a:pt x="110" y="190"/>
                </a:moveTo>
                <a:lnTo>
                  <a:pt x="110" y="190"/>
                </a:lnTo>
                <a:lnTo>
                  <a:pt x="108" y="194"/>
                </a:lnTo>
                <a:lnTo>
                  <a:pt x="106" y="196"/>
                </a:lnTo>
                <a:lnTo>
                  <a:pt x="106" y="196"/>
                </a:lnTo>
                <a:lnTo>
                  <a:pt x="106" y="196"/>
                </a:lnTo>
                <a:lnTo>
                  <a:pt x="106" y="196"/>
                </a:lnTo>
                <a:lnTo>
                  <a:pt x="102" y="202"/>
                </a:lnTo>
                <a:lnTo>
                  <a:pt x="102" y="202"/>
                </a:lnTo>
                <a:lnTo>
                  <a:pt x="92" y="216"/>
                </a:lnTo>
                <a:lnTo>
                  <a:pt x="92" y="216"/>
                </a:lnTo>
                <a:lnTo>
                  <a:pt x="86" y="222"/>
                </a:lnTo>
                <a:lnTo>
                  <a:pt x="86" y="224"/>
                </a:lnTo>
                <a:lnTo>
                  <a:pt x="86" y="226"/>
                </a:lnTo>
                <a:lnTo>
                  <a:pt x="86" y="226"/>
                </a:lnTo>
                <a:lnTo>
                  <a:pt x="100" y="210"/>
                </a:lnTo>
                <a:lnTo>
                  <a:pt x="114" y="194"/>
                </a:lnTo>
                <a:lnTo>
                  <a:pt x="114" y="194"/>
                </a:lnTo>
                <a:lnTo>
                  <a:pt x="112" y="190"/>
                </a:lnTo>
                <a:lnTo>
                  <a:pt x="112" y="190"/>
                </a:lnTo>
                <a:lnTo>
                  <a:pt x="110" y="190"/>
                </a:lnTo>
                <a:lnTo>
                  <a:pt x="110" y="190"/>
                </a:lnTo>
                <a:close/>
                <a:moveTo>
                  <a:pt x="116" y="196"/>
                </a:moveTo>
                <a:lnTo>
                  <a:pt x="116" y="196"/>
                </a:lnTo>
                <a:lnTo>
                  <a:pt x="110" y="202"/>
                </a:lnTo>
                <a:lnTo>
                  <a:pt x="110" y="202"/>
                </a:lnTo>
                <a:lnTo>
                  <a:pt x="106" y="208"/>
                </a:lnTo>
                <a:lnTo>
                  <a:pt x="106" y="208"/>
                </a:lnTo>
                <a:lnTo>
                  <a:pt x="98" y="216"/>
                </a:lnTo>
                <a:lnTo>
                  <a:pt x="98" y="216"/>
                </a:lnTo>
                <a:lnTo>
                  <a:pt x="92" y="228"/>
                </a:lnTo>
                <a:lnTo>
                  <a:pt x="92" y="228"/>
                </a:lnTo>
                <a:lnTo>
                  <a:pt x="88" y="230"/>
                </a:lnTo>
                <a:lnTo>
                  <a:pt x="86" y="234"/>
                </a:lnTo>
                <a:lnTo>
                  <a:pt x="86" y="236"/>
                </a:lnTo>
                <a:lnTo>
                  <a:pt x="86" y="236"/>
                </a:lnTo>
                <a:lnTo>
                  <a:pt x="90" y="234"/>
                </a:lnTo>
                <a:lnTo>
                  <a:pt x="92" y="232"/>
                </a:lnTo>
                <a:lnTo>
                  <a:pt x="92" y="232"/>
                </a:lnTo>
                <a:lnTo>
                  <a:pt x="108" y="214"/>
                </a:lnTo>
                <a:lnTo>
                  <a:pt x="108" y="214"/>
                </a:lnTo>
                <a:lnTo>
                  <a:pt x="110" y="210"/>
                </a:lnTo>
                <a:lnTo>
                  <a:pt x="112" y="206"/>
                </a:lnTo>
                <a:lnTo>
                  <a:pt x="112" y="206"/>
                </a:lnTo>
                <a:lnTo>
                  <a:pt x="116" y="202"/>
                </a:lnTo>
                <a:lnTo>
                  <a:pt x="118" y="202"/>
                </a:lnTo>
                <a:lnTo>
                  <a:pt x="120" y="202"/>
                </a:lnTo>
                <a:lnTo>
                  <a:pt x="120" y="202"/>
                </a:lnTo>
                <a:lnTo>
                  <a:pt x="120" y="204"/>
                </a:lnTo>
                <a:lnTo>
                  <a:pt x="120" y="204"/>
                </a:lnTo>
                <a:lnTo>
                  <a:pt x="122" y="204"/>
                </a:lnTo>
                <a:lnTo>
                  <a:pt x="124" y="204"/>
                </a:lnTo>
                <a:lnTo>
                  <a:pt x="128" y="200"/>
                </a:lnTo>
                <a:lnTo>
                  <a:pt x="128" y="200"/>
                </a:lnTo>
                <a:lnTo>
                  <a:pt x="116" y="196"/>
                </a:lnTo>
                <a:lnTo>
                  <a:pt x="116" y="196"/>
                </a:lnTo>
                <a:close/>
                <a:moveTo>
                  <a:pt x="88" y="244"/>
                </a:moveTo>
                <a:lnTo>
                  <a:pt x="88" y="244"/>
                </a:lnTo>
                <a:lnTo>
                  <a:pt x="92" y="242"/>
                </a:lnTo>
                <a:lnTo>
                  <a:pt x="94" y="238"/>
                </a:lnTo>
                <a:lnTo>
                  <a:pt x="94" y="238"/>
                </a:lnTo>
                <a:lnTo>
                  <a:pt x="106" y="222"/>
                </a:lnTo>
                <a:lnTo>
                  <a:pt x="118" y="206"/>
                </a:lnTo>
                <a:lnTo>
                  <a:pt x="118" y="206"/>
                </a:lnTo>
                <a:lnTo>
                  <a:pt x="102" y="224"/>
                </a:lnTo>
                <a:lnTo>
                  <a:pt x="88" y="244"/>
                </a:lnTo>
                <a:lnTo>
                  <a:pt x="88" y="244"/>
                </a:lnTo>
                <a:close/>
                <a:moveTo>
                  <a:pt x="96" y="242"/>
                </a:moveTo>
                <a:lnTo>
                  <a:pt x="96" y="242"/>
                </a:lnTo>
                <a:lnTo>
                  <a:pt x="94" y="246"/>
                </a:lnTo>
                <a:lnTo>
                  <a:pt x="94" y="250"/>
                </a:lnTo>
                <a:lnTo>
                  <a:pt x="94" y="250"/>
                </a:lnTo>
                <a:lnTo>
                  <a:pt x="96" y="250"/>
                </a:lnTo>
                <a:lnTo>
                  <a:pt x="98" y="248"/>
                </a:lnTo>
                <a:lnTo>
                  <a:pt x="98" y="246"/>
                </a:lnTo>
                <a:lnTo>
                  <a:pt x="100" y="244"/>
                </a:lnTo>
                <a:lnTo>
                  <a:pt x="100" y="244"/>
                </a:lnTo>
                <a:lnTo>
                  <a:pt x="100" y="242"/>
                </a:lnTo>
                <a:lnTo>
                  <a:pt x="100" y="242"/>
                </a:lnTo>
                <a:lnTo>
                  <a:pt x="102" y="242"/>
                </a:lnTo>
                <a:lnTo>
                  <a:pt x="102" y="242"/>
                </a:lnTo>
                <a:lnTo>
                  <a:pt x="106" y="236"/>
                </a:lnTo>
                <a:lnTo>
                  <a:pt x="110" y="232"/>
                </a:lnTo>
                <a:lnTo>
                  <a:pt x="110" y="232"/>
                </a:lnTo>
                <a:lnTo>
                  <a:pt x="110" y="230"/>
                </a:lnTo>
                <a:lnTo>
                  <a:pt x="110" y="230"/>
                </a:lnTo>
                <a:lnTo>
                  <a:pt x="114" y="224"/>
                </a:lnTo>
                <a:lnTo>
                  <a:pt x="116" y="222"/>
                </a:lnTo>
                <a:lnTo>
                  <a:pt x="112" y="220"/>
                </a:lnTo>
                <a:lnTo>
                  <a:pt x="112" y="220"/>
                </a:lnTo>
                <a:lnTo>
                  <a:pt x="96" y="242"/>
                </a:lnTo>
                <a:lnTo>
                  <a:pt x="96" y="242"/>
                </a:lnTo>
                <a:close/>
                <a:moveTo>
                  <a:pt x="118" y="226"/>
                </a:moveTo>
                <a:lnTo>
                  <a:pt x="118" y="226"/>
                </a:lnTo>
                <a:lnTo>
                  <a:pt x="108" y="238"/>
                </a:lnTo>
                <a:lnTo>
                  <a:pt x="102" y="252"/>
                </a:lnTo>
                <a:lnTo>
                  <a:pt x="102" y="252"/>
                </a:lnTo>
                <a:lnTo>
                  <a:pt x="104" y="252"/>
                </a:lnTo>
                <a:lnTo>
                  <a:pt x="106" y="252"/>
                </a:lnTo>
                <a:lnTo>
                  <a:pt x="106" y="252"/>
                </a:lnTo>
                <a:lnTo>
                  <a:pt x="106" y="250"/>
                </a:lnTo>
                <a:lnTo>
                  <a:pt x="106" y="250"/>
                </a:lnTo>
                <a:lnTo>
                  <a:pt x="114" y="238"/>
                </a:lnTo>
                <a:lnTo>
                  <a:pt x="120" y="228"/>
                </a:lnTo>
                <a:lnTo>
                  <a:pt x="120" y="228"/>
                </a:lnTo>
                <a:lnTo>
                  <a:pt x="118" y="226"/>
                </a:lnTo>
                <a:lnTo>
                  <a:pt x="118" y="226"/>
                </a:lnTo>
                <a:close/>
                <a:moveTo>
                  <a:pt x="124" y="230"/>
                </a:moveTo>
                <a:lnTo>
                  <a:pt x="124" y="230"/>
                </a:lnTo>
                <a:lnTo>
                  <a:pt x="116" y="240"/>
                </a:lnTo>
                <a:lnTo>
                  <a:pt x="110" y="252"/>
                </a:lnTo>
                <a:lnTo>
                  <a:pt x="110" y="252"/>
                </a:lnTo>
                <a:lnTo>
                  <a:pt x="114" y="252"/>
                </a:lnTo>
                <a:lnTo>
                  <a:pt x="116" y="248"/>
                </a:lnTo>
                <a:lnTo>
                  <a:pt x="118" y="244"/>
                </a:lnTo>
                <a:lnTo>
                  <a:pt x="120" y="242"/>
                </a:lnTo>
                <a:lnTo>
                  <a:pt x="120" y="242"/>
                </a:lnTo>
                <a:lnTo>
                  <a:pt x="124" y="234"/>
                </a:lnTo>
                <a:lnTo>
                  <a:pt x="126" y="234"/>
                </a:lnTo>
                <a:lnTo>
                  <a:pt x="128" y="234"/>
                </a:lnTo>
                <a:lnTo>
                  <a:pt x="128" y="234"/>
                </a:lnTo>
                <a:lnTo>
                  <a:pt x="124" y="240"/>
                </a:lnTo>
                <a:lnTo>
                  <a:pt x="122" y="248"/>
                </a:lnTo>
                <a:lnTo>
                  <a:pt x="122" y="248"/>
                </a:lnTo>
                <a:lnTo>
                  <a:pt x="120" y="250"/>
                </a:lnTo>
                <a:lnTo>
                  <a:pt x="118" y="252"/>
                </a:lnTo>
                <a:lnTo>
                  <a:pt x="118" y="252"/>
                </a:lnTo>
                <a:lnTo>
                  <a:pt x="126" y="248"/>
                </a:lnTo>
                <a:lnTo>
                  <a:pt x="130" y="244"/>
                </a:lnTo>
                <a:lnTo>
                  <a:pt x="130" y="244"/>
                </a:lnTo>
                <a:lnTo>
                  <a:pt x="132" y="234"/>
                </a:lnTo>
                <a:lnTo>
                  <a:pt x="132" y="234"/>
                </a:lnTo>
                <a:lnTo>
                  <a:pt x="124" y="230"/>
                </a:lnTo>
                <a:lnTo>
                  <a:pt x="124" y="23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rgbClr val="20BD67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5437F8D-FAD5-4DEB-926D-778B36F55BA6}"/>
              </a:ext>
            </a:extLst>
          </p:cNvPr>
          <p:cNvSpPr txBox="1"/>
          <p:nvPr/>
        </p:nvSpPr>
        <p:spPr>
          <a:xfrm>
            <a:off x="2780899" y="1494956"/>
            <a:ext cx="3421649" cy="151216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lnSpc>
                <a:spcPct val="150000"/>
              </a:lnSpc>
            </a:pPr>
            <a:r>
              <a:rPr lang="de-DE" sz="1600" dirty="0">
                <a:solidFill>
                  <a:srgbClr val="19944F"/>
                </a:solidFill>
              </a:rPr>
              <a:t>Unterstützung von </a:t>
            </a:r>
            <a:r>
              <a:rPr lang="de-DE" sz="1600" b="1" dirty="0">
                <a:solidFill>
                  <a:srgbClr val="19944F"/>
                </a:solidFill>
              </a:rPr>
              <a:t>Audio- &amp; Videonachrichten</a:t>
            </a:r>
            <a:r>
              <a:rPr lang="de-DE" sz="1600" dirty="0">
                <a:solidFill>
                  <a:srgbClr val="19944F"/>
                </a:solidFill>
              </a:rPr>
              <a:t> für eine persönlichere User Experienc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A94654C-183E-423B-8CC2-7856DEB71762}"/>
              </a:ext>
            </a:extLst>
          </p:cNvPr>
          <p:cNvSpPr txBox="1"/>
          <p:nvPr/>
        </p:nvSpPr>
        <p:spPr>
          <a:xfrm>
            <a:off x="6312024" y="2852936"/>
            <a:ext cx="3421649" cy="151216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600">
                <a:solidFill>
                  <a:srgbClr val="19944F"/>
                </a:solidFill>
              </a:defRPr>
            </a:lvl1pPr>
          </a:lstStyle>
          <a:p>
            <a:r>
              <a:rPr lang="de-DE" dirty="0"/>
              <a:t>Weitere integrierte Minispiele wie Tic Tac Toe oder Malen &amp; Raten für </a:t>
            </a:r>
            <a:r>
              <a:rPr lang="de-DE" b="1" dirty="0"/>
              <a:t>mehr Spaß in der Pa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2012E42-7163-4A32-92F4-A344747B1F7E}"/>
              </a:ext>
            </a:extLst>
          </p:cNvPr>
          <p:cNvSpPr txBox="1"/>
          <p:nvPr/>
        </p:nvSpPr>
        <p:spPr>
          <a:xfrm>
            <a:off x="2890375" y="4365104"/>
            <a:ext cx="3421649" cy="151216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600">
                <a:solidFill>
                  <a:srgbClr val="19944F"/>
                </a:solidFill>
              </a:defRPr>
            </a:lvl1pPr>
          </a:lstStyle>
          <a:p>
            <a:r>
              <a:rPr lang="de-DE" dirty="0"/>
              <a:t>Online-Status für eine </a:t>
            </a:r>
            <a:r>
              <a:rPr lang="de-DE" b="1" dirty="0"/>
              <a:t>schnelle Übersicht aktiver Kollegen </a:t>
            </a:r>
            <a:r>
              <a:rPr lang="de-DE" dirty="0"/>
              <a:t>zum Chatten und Spielen</a:t>
            </a:r>
          </a:p>
        </p:txBody>
      </p:sp>
    </p:spTree>
    <p:extLst>
      <p:ext uri="{BB962C8B-B14F-4D97-AF65-F5344CB8AC3E}">
        <p14:creationId xmlns:p14="http://schemas.microsoft.com/office/powerpoint/2010/main" val="14279220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8361A5-3333-425F-A575-62F8AA3820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2DC0E2-1353-4BAF-A406-16AC51710A9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Ein innovatives Projekt von Team 2 - Max, Moritz, Dmitrij, Andreas, Nares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4C1CA-CCE4-4C99-956F-A68C2A2643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11999" y="4549376"/>
            <a:ext cx="2903881" cy="391792"/>
          </a:xfrm>
        </p:spPr>
        <p:txBody>
          <a:bodyPr/>
          <a:lstStyle/>
          <a:p>
            <a:r>
              <a:rPr lang="de-DE" sz="1100" dirty="0"/>
              <a:t>Folgt communify.io um als Erste von unseren neuesten Features zu erfahr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F81ADF-5577-478A-B1B8-39A94069098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75623" y="4549376"/>
            <a:ext cx="2903881" cy="391792"/>
          </a:xfrm>
        </p:spPr>
        <p:txBody>
          <a:bodyPr/>
          <a:lstStyle/>
          <a:p>
            <a:r>
              <a:rPr lang="de-DE" sz="1100" dirty="0"/>
              <a:t>Als Web-App auf jedem Gerät mit aktuellem Browser verfügbar. </a:t>
            </a:r>
          </a:p>
          <a:p>
            <a:r>
              <a:rPr lang="de-DE" sz="1100" dirty="0"/>
              <a:t>Native Apps für Andoid und Windows folgen bald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1898F3-EAD8-4B30-A2BA-C1E34761D8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796" y="1339511"/>
            <a:ext cx="3974407" cy="1729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018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90AEF-4EC0-479C-94E5-928B49F2B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20BD67"/>
                </a:solidFill>
              </a:rPr>
              <a:t>Wie sieht der Alltag im Home-Office au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9A6851-E056-4189-80F5-5A1661712A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8400" y="1322388"/>
            <a:ext cx="4953584" cy="4554537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/>
              <a:t>Kaum Kontakt mit anderen Menschen, Einsamkeit im Home-Offic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/>
              <a:t>Kommunikation oft nur im Kontext der Arbeit, kein Small Talk oder persönlicher Austausch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/>
              <a:t>Kontakt zu Kollegen ohne unmittelbare Arbeitsbeziehung wird nicht aufrecht erhalte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/>
              <a:t>Keine gemeinsamen Pausen oder </a:t>
            </a:r>
            <a:br>
              <a:rPr lang="de-DE" dirty="0"/>
            </a:br>
            <a:r>
              <a:rPr lang="de-DE" dirty="0"/>
              <a:t>Aktivitäten nach der Arbei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A8E05C71-25AC-4A69-8A2A-95EBA8341A0B}"/>
              </a:ext>
            </a:extLst>
          </p:cNvPr>
          <p:cNvSpPr/>
          <p:nvPr/>
        </p:nvSpPr>
        <p:spPr>
          <a:xfrm flipH="1">
            <a:off x="4295800" y="-2691680"/>
            <a:ext cx="7896200" cy="9549680"/>
          </a:xfrm>
          <a:prstGeom prst="rtTriangle">
            <a:avLst/>
          </a:prstGeom>
          <a:solidFill>
            <a:srgbClr val="199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de-DE" sz="1500" dirty="0" err="1">
              <a:solidFill>
                <a:schemeClr val="bg1"/>
              </a:solidFill>
            </a:endParaRPr>
          </a:p>
        </p:txBody>
      </p:sp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44398C33-09A3-493B-8839-CF283EB9B797}"/>
              </a:ext>
            </a:extLst>
          </p:cNvPr>
          <p:cNvSpPr/>
          <p:nvPr/>
        </p:nvSpPr>
        <p:spPr>
          <a:xfrm flipH="1">
            <a:off x="5087888" y="-7732240"/>
            <a:ext cx="7104112" cy="14590240"/>
          </a:xfrm>
          <a:prstGeom prst="rtTriangle">
            <a:avLst/>
          </a:prstGeom>
          <a:solidFill>
            <a:srgbClr val="20B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de-DE" sz="1500" dirty="0" err="1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18F0618-538E-4EBF-B4B3-B395EA11CE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19936" y="-4976"/>
            <a:ext cx="10477163" cy="6984776"/>
          </a:xfrm>
          <a:prstGeom prst="parallelogram">
            <a:avLst>
              <a:gd name="adj" fmla="val 40882"/>
            </a:avLst>
          </a:prstGeom>
        </p:spPr>
      </p:pic>
    </p:spTree>
    <p:extLst>
      <p:ext uri="{BB962C8B-B14F-4D97-AF65-F5344CB8AC3E}">
        <p14:creationId xmlns:p14="http://schemas.microsoft.com/office/powerpoint/2010/main" val="539158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01A77-A46D-42C7-844A-5F9C7D235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20BD67"/>
                </a:solidFill>
              </a:rPr>
              <a:t>Unsere Lösung ist ein innovatives Kommunikationstool. communify.io ist…</a:t>
            </a:r>
          </a:p>
        </p:txBody>
      </p:sp>
      <p:grpSp>
        <p:nvGrpSpPr>
          <p:cNvPr id="4" name="Gruppieren 34">
            <a:extLst>
              <a:ext uri="{FF2B5EF4-FFF2-40B4-BE49-F238E27FC236}">
                <a16:creationId xmlns:a16="http://schemas.microsoft.com/office/drawing/2014/main" id="{BA12DE5E-F2F1-48FB-8730-C36D0FE2CA8B}"/>
              </a:ext>
            </a:extLst>
          </p:cNvPr>
          <p:cNvGrpSpPr/>
          <p:nvPr/>
        </p:nvGrpSpPr>
        <p:grpSpPr>
          <a:xfrm>
            <a:off x="9377745" y="2294704"/>
            <a:ext cx="1103687" cy="994243"/>
            <a:chOff x="6785362" y="1554130"/>
            <a:chExt cx="1075390" cy="968752"/>
          </a:xfrm>
          <a:solidFill>
            <a:srgbClr val="19944F"/>
          </a:solidFill>
        </p:grpSpPr>
        <p:sp>
          <p:nvSpPr>
            <p:cNvPr id="5" name="Freeform 50">
              <a:extLst>
                <a:ext uri="{FF2B5EF4-FFF2-40B4-BE49-F238E27FC236}">
                  <a16:creationId xmlns:a16="http://schemas.microsoft.com/office/drawing/2014/main" id="{3826EAF7-ABF8-468E-AB01-3365A5CF7B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9228" y="1554130"/>
              <a:ext cx="518170" cy="636823"/>
            </a:xfrm>
            <a:custGeom>
              <a:avLst/>
              <a:gdLst/>
              <a:ahLst/>
              <a:cxnLst>
                <a:cxn ang="0">
                  <a:pos x="129" y="40"/>
                </a:cxn>
                <a:cxn ang="0">
                  <a:pos x="89" y="0"/>
                </a:cxn>
                <a:cxn ang="0">
                  <a:pos x="49" y="40"/>
                </a:cxn>
                <a:cxn ang="0">
                  <a:pos x="129" y="40"/>
                </a:cxn>
                <a:cxn ang="0">
                  <a:pos x="0" y="164"/>
                </a:cxn>
                <a:cxn ang="0">
                  <a:pos x="9" y="137"/>
                </a:cxn>
                <a:cxn ang="0">
                  <a:pos x="52" y="106"/>
                </a:cxn>
                <a:cxn ang="0">
                  <a:pos x="56" y="106"/>
                </a:cxn>
                <a:cxn ang="0">
                  <a:pos x="82" y="145"/>
                </a:cxn>
                <a:cxn ang="0">
                  <a:pos x="82" y="125"/>
                </a:cxn>
                <a:cxn ang="0">
                  <a:pos x="78" y="120"/>
                </a:cxn>
                <a:cxn ang="0">
                  <a:pos x="89" y="112"/>
                </a:cxn>
                <a:cxn ang="0">
                  <a:pos x="100" y="120"/>
                </a:cxn>
                <a:cxn ang="0">
                  <a:pos x="96" y="125"/>
                </a:cxn>
                <a:cxn ang="0">
                  <a:pos x="97" y="145"/>
                </a:cxn>
                <a:cxn ang="0">
                  <a:pos x="123" y="106"/>
                </a:cxn>
                <a:cxn ang="0">
                  <a:pos x="127" y="106"/>
                </a:cxn>
                <a:cxn ang="0">
                  <a:pos x="170" y="137"/>
                </a:cxn>
                <a:cxn ang="0">
                  <a:pos x="178" y="164"/>
                </a:cxn>
                <a:cxn ang="0">
                  <a:pos x="175" y="170"/>
                </a:cxn>
                <a:cxn ang="0">
                  <a:pos x="89" y="219"/>
                </a:cxn>
                <a:cxn ang="0">
                  <a:pos x="4" y="170"/>
                </a:cxn>
                <a:cxn ang="0">
                  <a:pos x="0" y="164"/>
                </a:cxn>
              </a:cxnLst>
              <a:rect l="0" t="0" r="r" b="b"/>
              <a:pathLst>
                <a:path w="178" h="219">
                  <a:moveTo>
                    <a:pt x="129" y="40"/>
                  </a:moveTo>
                  <a:cubicBezTo>
                    <a:pt x="129" y="18"/>
                    <a:pt x="114" y="0"/>
                    <a:pt x="89" y="0"/>
                  </a:cubicBezTo>
                  <a:cubicBezTo>
                    <a:pt x="64" y="0"/>
                    <a:pt x="50" y="18"/>
                    <a:pt x="49" y="40"/>
                  </a:cubicBezTo>
                  <a:cubicBezTo>
                    <a:pt x="49" y="125"/>
                    <a:pt x="130" y="124"/>
                    <a:pt x="129" y="40"/>
                  </a:cubicBezTo>
                  <a:close/>
                  <a:moveTo>
                    <a:pt x="0" y="164"/>
                  </a:moveTo>
                  <a:cubicBezTo>
                    <a:pt x="2" y="154"/>
                    <a:pt x="4" y="145"/>
                    <a:pt x="9" y="137"/>
                  </a:cubicBezTo>
                  <a:cubicBezTo>
                    <a:pt x="17" y="121"/>
                    <a:pt x="33" y="106"/>
                    <a:pt x="52" y="106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78" y="120"/>
                    <a:pt x="78" y="120"/>
                    <a:pt x="78" y="120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100" y="120"/>
                    <a:pt x="100" y="120"/>
                    <a:pt x="100" y="120"/>
                  </a:cubicBezTo>
                  <a:cubicBezTo>
                    <a:pt x="96" y="125"/>
                    <a:pt x="96" y="125"/>
                    <a:pt x="96" y="125"/>
                  </a:cubicBezTo>
                  <a:cubicBezTo>
                    <a:pt x="97" y="145"/>
                    <a:pt x="97" y="145"/>
                    <a:pt x="97" y="145"/>
                  </a:cubicBezTo>
                  <a:cubicBezTo>
                    <a:pt x="123" y="106"/>
                    <a:pt x="123" y="106"/>
                    <a:pt x="123" y="106"/>
                  </a:cubicBezTo>
                  <a:cubicBezTo>
                    <a:pt x="127" y="106"/>
                    <a:pt x="127" y="106"/>
                    <a:pt x="127" y="106"/>
                  </a:cubicBezTo>
                  <a:cubicBezTo>
                    <a:pt x="145" y="106"/>
                    <a:pt x="162" y="120"/>
                    <a:pt x="170" y="137"/>
                  </a:cubicBezTo>
                  <a:cubicBezTo>
                    <a:pt x="174" y="145"/>
                    <a:pt x="177" y="154"/>
                    <a:pt x="178" y="164"/>
                  </a:cubicBezTo>
                  <a:cubicBezTo>
                    <a:pt x="175" y="170"/>
                    <a:pt x="175" y="170"/>
                    <a:pt x="175" y="170"/>
                  </a:cubicBezTo>
                  <a:cubicBezTo>
                    <a:pt x="157" y="200"/>
                    <a:pt x="125" y="219"/>
                    <a:pt x="89" y="219"/>
                  </a:cubicBezTo>
                  <a:cubicBezTo>
                    <a:pt x="54" y="219"/>
                    <a:pt x="22" y="200"/>
                    <a:pt x="4" y="170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19944F"/>
                </a:solidFill>
              </a:endParaRPr>
            </a:p>
          </p:txBody>
        </p:sp>
        <p:sp>
          <p:nvSpPr>
            <p:cNvPr id="6" name="Freeform 51">
              <a:extLst>
                <a:ext uri="{FF2B5EF4-FFF2-40B4-BE49-F238E27FC236}">
                  <a16:creationId xmlns:a16="http://schemas.microsoft.com/office/drawing/2014/main" id="{4275C085-46F6-45ED-A986-74F769AB39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5362" y="2042261"/>
              <a:ext cx="1075390" cy="480621"/>
            </a:xfrm>
            <a:custGeom>
              <a:avLst/>
              <a:gdLst/>
              <a:ahLst/>
              <a:cxnLst>
                <a:cxn ang="0">
                  <a:pos x="308" y="32"/>
                </a:cxn>
                <a:cxn ang="0">
                  <a:pos x="294" y="24"/>
                </a:cxn>
                <a:cxn ang="0">
                  <a:pos x="196" y="81"/>
                </a:cxn>
                <a:cxn ang="0">
                  <a:pos x="196" y="102"/>
                </a:cxn>
                <a:cxn ang="0">
                  <a:pos x="187" y="101"/>
                </a:cxn>
                <a:cxn ang="0">
                  <a:pos x="178" y="102"/>
                </a:cxn>
                <a:cxn ang="0">
                  <a:pos x="178" y="81"/>
                </a:cxn>
                <a:cxn ang="0">
                  <a:pos x="81" y="24"/>
                </a:cxn>
                <a:cxn ang="0">
                  <a:pos x="63" y="34"/>
                </a:cxn>
                <a:cxn ang="0">
                  <a:pos x="54" y="19"/>
                </a:cxn>
                <a:cxn ang="0">
                  <a:pos x="87" y="0"/>
                </a:cxn>
                <a:cxn ang="0">
                  <a:pos x="91" y="8"/>
                </a:cxn>
                <a:cxn ang="0">
                  <a:pos x="187" y="63"/>
                </a:cxn>
                <a:cxn ang="0">
                  <a:pos x="284" y="8"/>
                </a:cxn>
                <a:cxn ang="0">
                  <a:pos x="288" y="0"/>
                </a:cxn>
                <a:cxn ang="0">
                  <a:pos x="318" y="17"/>
                </a:cxn>
                <a:cxn ang="0">
                  <a:pos x="308" y="32"/>
                </a:cxn>
                <a:cxn ang="0">
                  <a:pos x="29" y="15"/>
                </a:cxn>
                <a:cxn ang="0">
                  <a:pos x="58" y="44"/>
                </a:cxn>
                <a:cxn ang="0">
                  <a:pos x="29" y="72"/>
                </a:cxn>
                <a:cxn ang="0">
                  <a:pos x="0" y="44"/>
                </a:cxn>
                <a:cxn ang="0">
                  <a:pos x="29" y="15"/>
                </a:cxn>
                <a:cxn ang="0">
                  <a:pos x="187" y="107"/>
                </a:cxn>
                <a:cxn ang="0">
                  <a:pos x="216" y="136"/>
                </a:cxn>
                <a:cxn ang="0">
                  <a:pos x="187" y="165"/>
                </a:cxn>
                <a:cxn ang="0">
                  <a:pos x="159" y="136"/>
                </a:cxn>
                <a:cxn ang="0">
                  <a:pos x="187" y="107"/>
                </a:cxn>
                <a:cxn ang="0">
                  <a:pos x="342" y="15"/>
                </a:cxn>
                <a:cxn ang="0">
                  <a:pos x="370" y="44"/>
                </a:cxn>
                <a:cxn ang="0">
                  <a:pos x="342" y="72"/>
                </a:cxn>
                <a:cxn ang="0">
                  <a:pos x="313" y="44"/>
                </a:cxn>
                <a:cxn ang="0">
                  <a:pos x="342" y="15"/>
                </a:cxn>
              </a:cxnLst>
              <a:rect l="0" t="0" r="r" b="b"/>
              <a:pathLst>
                <a:path w="370" h="165">
                  <a:moveTo>
                    <a:pt x="308" y="32"/>
                  </a:moveTo>
                  <a:cubicBezTo>
                    <a:pt x="294" y="24"/>
                    <a:pt x="294" y="24"/>
                    <a:pt x="294" y="24"/>
                  </a:cubicBezTo>
                  <a:cubicBezTo>
                    <a:pt x="272" y="57"/>
                    <a:pt x="236" y="78"/>
                    <a:pt x="196" y="81"/>
                  </a:cubicBezTo>
                  <a:cubicBezTo>
                    <a:pt x="196" y="102"/>
                    <a:pt x="196" y="102"/>
                    <a:pt x="196" y="102"/>
                  </a:cubicBezTo>
                  <a:cubicBezTo>
                    <a:pt x="194" y="101"/>
                    <a:pt x="191" y="101"/>
                    <a:pt x="187" y="101"/>
                  </a:cubicBezTo>
                  <a:cubicBezTo>
                    <a:pt x="184" y="101"/>
                    <a:pt x="181" y="101"/>
                    <a:pt x="178" y="102"/>
                  </a:cubicBezTo>
                  <a:cubicBezTo>
                    <a:pt x="178" y="81"/>
                    <a:pt x="178" y="81"/>
                    <a:pt x="178" y="81"/>
                  </a:cubicBezTo>
                  <a:cubicBezTo>
                    <a:pt x="139" y="78"/>
                    <a:pt x="103" y="57"/>
                    <a:pt x="81" y="24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62" y="28"/>
                    <a:pt x="58" y="23"/>
                    <a:pt x="54" y="19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1" y="8"/>
                    <a:pt x="91" y="8"/>
                    <a:pt x="91" y="8"/>
                  </a:cubicBezTo>
                  <a:cubicBezTo>
                    <a:pt x="111" y="42"/>
                    <a:pt x="148" y="63"/>
                    <a:pt x="187" y="63"/>
                  </a:cubicBezTo>
                  <a:cubicBezTo>
                    <a:pt x="227" y="63"/>
                    <a:pt x="264" y="42"/>
                    <a:pt x="284" y="8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318" y="17"/>
                    <a:pt x="318" y="17"/>
                    <a:pt x="318" y="17"/>
                  </a:cubicBezTo>
                  <a:cubicBezTo>
                    <a:pt x="314" y="21"/>
                    <a:pt x="310" y="26"/>
                    <a:pt x="308" y="32"/>
                  </a:cubicBezTo>
                  <a:close/>
                  <a:moveTo>
                    <a:pt x="29" y="15"/>
                  </a:moveTo>
                  <a:cubicBezTo>
                    <a:pt x="45" y="15"/>
                    <a:pt x="58" y="28"/>
                    <a:pt x="58" y="44"/>
                  </a:cubicBezTo>
                  <a:cubicBezTo>
                    <a:pt x="58" y="59"/>
                    <a:pt x="45" y="72"/>
                    <a:pt x="29" y="72"/>
                  </a:cubicBezTo>
                  <a:cubicBezTo>
                    <a:pt x="13" y="72"/>
                    <a:pt x="0" y="59"/>
                    <a:pt x="0" y="44"/>
                  </a:cubicBezTo>
                  <a:cubicBezTo>
                    <a:pt x="0" y="28"/>
                    <a:pt x="13" y="15"/>
                    <a:pt x="29" y="15"/>
                  </a:cubicBezTo>
                  <a:close/>
                  <a:moveTo>
                    <a:pt x="187" y="107"/>
                  </a:moveTo>
                  <a:cubicBezTo>
                    <a:pt x="203" y="107"/>
                    <a:pt x="216" y="120"/>
                    <a:pt x="216" y="136"/>
                  </a:cubicBezTo>
                  <a:cubicBezTo>
                    <a:pt x="216" y="152"/>
                    <a:pt x="203" y="165"/>
                    <a:pt x="187" y="165"/>
                  </a:cubicBezTo>
                  <a:cubicBezTo>
                    <a:pt x="172" y="165"/>
                    <a:pt x="159" y="152"/>
                    <a:pt x="159" y="136"/>
                  </a:cubicBezTo>
                  <a:cubicBezTo>
                    <a:pt x="159" y="120"/>
                    <a:pt x="172" y="107"/>
                    <a:pt x="187" y="107"/>
                  </a:cubicBezTo>
                  <a:close/>
                  <a:moveTo>
                    <a:pt x="342" y="15"/>
                  </a:moveTo>
                  <a:cubicBezTo>
                    <a:pt x="358" y="15"/>
                    <a:pt x="370" y="28"/>
                    <a:pt x="370" y="44"/>
                  </a:cubicBezTo>
                  <a:cubicBezTo>
                    <a:pt x="370" y="59"/>
                    <a:pt x="358" y="72"/>
                    <a:pt x="342" y="72"/>
                  </a:cubicBezTo>
                  <a:cubicBezTo>
                    <a:pt x="326" y="72"/>
                    <a:pt x="313" y="59"/>
                    <a:pt x="313" y="44"/>
                  </a:cubicBezTo>
                  <a:cubicBezTo>
                    <a:pt x="313" y="28"/>
                    <a:pt x="326" y="15"/>
                    <a:pt x="342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19944F"/>
                </a:solidFill>
              </a:endParaRPr>
            </a:p>
          </p:txBody>
        </p:sp>
      </p:grpSp>
      <p:grpSp>
        <p:nvGrpSpPr>
          <p:cNvPr id="7" name="Gruppieren 55">
            <a:extLst>
              <a:ext uri="{FF2B5EF4-FFF2-40B4-BE49-F238E27FC236}">
                <a16:creationId xmlns:a16="http://schemas.microsoft.com/office/drawing/2014/main" id="{95FC8B86-54B8-4610-822C-269C6D3B148B}"/>
              </a:ext>
            </a:extLst>
          </p:cNvPr>
          <p:cNvGrpSpPr/>
          <p:nvPr/>
        </p:nvGrpSpPr>
        <p:grpSpPr>
          <a:xfrm>
            <a:off x="1688882" y="2294704"/>
            <a:ext cx="1136278" cy="994243"/>
            <a:chOff x="6567488" y="2671763"/>
            <a:chExt cx="711200" cy="622300"/>
          </a:xfrm>
          <a:solidFill>
            <a:srgbClr val="19944F"/>
          </a:solidFill>
        </p:grpSpPr>
        <p:sp>
          <p:nvSpPr>
            <p:cNvPr id="8" name="Freeform 146">
              <a:extLst>
                <a:ext uri="{FF2B5EF4-FFF2-40B4-BE49-F238E27FC236}">
                  <a16:creationId xmlns:a16="http://schemas.microsoft.com/office/drawing/2014/main" id="{2D25F09D-BE3E-470D-9EDB-A731B2F2E5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6088" y="2849563"/>
              <a:ext cx="482600" cy="444500"/>
            </a:xfrm>
            <a:custGeom>
              <a:avLst/>
              <a:gdLst/>
              <a:ahLst/>
              <a:cxnLst>
                <a:cxn ang="0">
                  <a:pos x="168" y="169"/>
                </a:cxn>
                <a:cxn ang="0">
                  <a:pos x="168" y="1345"/>
                </a:cxn>
                <a:cxn ang="0">
                  <a:pos x="1288" y="1345"/>
                </a:cxn>
                <a:cxn ang="0">
                  <a:pos x="1512" y="1569"/>
                </a:cxn>
                <a:cxn ang="0">
                  <a:pos x="1512" y="1345"/>
                </a:cxn>
                <a:cxn ang="0">
                  <a:pos x="1960" y="1345"/>
                </a:cxn>
                <a:cxn ang="0">
                  <a:pos x="1960" y="169"/>
                </a:cxn>
                <a:cxn ang="0">
                  <a:pos x="168" y="169"/>
                </a:cxn>
                <a:cxn ang="0">
                  <a:pos x="168" y="0"/>
                </a:cxn>
                <a:cxn ang="0">
                  <a:pos x="1960" y="0"/>
                </a:cxn>
                <a:cxn ang="0">
                  <a:pos x="1990" y="4"/>
                </a:cxn>
                <a:cxn ang="0">
                  <a:pos x="2019" y="11"/>
                </a:cxn>
                <a:cxn ang="0">
                  <a:pos x="2045" y="24"/>
                </a:cxn>
                <a:cxn ang="0">
                  <a:pos x="2069" y="41"/>
                </a:cxn>
                <a:cxn ang="0">
                  <a:pos x="2088" y="61"/>
                </a:cxn>
                <a:cxn ang="0">
                  <a:pos x="2105" y="84"/>
                </a:cxn>
                <a:cxn ang="0">
                  <a:pos x="2117" y="110"/>
                </a:cxn>
                <a:cxn ang="0">
                  <a:pos x="2125" y="138"/>
                </a:cxn>
                <a:cxn ang="0">
                  <a:pos x="2128" y="169"/>
                </a:cxn>
                <a:cxn ang="0">
                  <a:pos x="2128" y="1345"/>
                </a:cxn>
                <a:cxn ang="0">
                  <a:pos x="2125" y="1375"/>
                </a:cxn>
                <a:cxn ang="0">
                  <a:pos x="2117" y="1404"/>
                </a:cxn>
                <a:cxn ang="0">
                  <a:pos x="2105" y="1430"/>
                </a:cxn>
                <a:cxn ang="0">
                  <a:pos x="2088" y="1454"/>
                </a:cxn>
                <a:cxn ang="0">
                  <a:pos x="2069" y="1473"/>
                </a:cxn>
                <a:cxn ang="0">
                  <a:pos x="2045" y="1491"/>
                </a:cxn>
                <a:cxn ang="0">
                  <a:pos x="2019" y="1502"/>
                </a:cxn>
                <a:cxn ang="0">
                  <a:pos x="1990" y="1510"/>
                </a:cxn>
                <a:cxn ang="0">
                  <a:pos x="1960" y="1513"/>
                </a:cxn>
                <a:cxn ang="0">
                  <a:pos x="1680" y="1513"/>
                </a:cxn>
                <a:cxn ang="0">
                  <a:pos x="1680" y="1961"/>
                </a:cxn>
                <a:cxn ang="0">
                  <a:pos x="1232" y="1513"/>
                </a:cxn>
                <a:cxn ang="0">
                  <a:pos x="168" y="1513"/>
                </a:cxn>
                <a:cxn ang="0">
                  <a:pos x="138" y="1510"/>
                </a:cxn>
                <a:cxn ang="0">
                  <a:pos x="109" y="1502"/>
                </a:cxn>
                <a:cxn ang="0">
                  <a:pos x="83" y="1491"/>
                </a:cxn>
                <a:cxn ang="0">
                  <a:pos x="59" y="1473"/>
                </a:cxn>
                <a:cxn ang="0">
                  <a:pos x="40" y="1454"/>
                </a:cxn>
                <a:cxn ang="0">
                  <a:pos x="22" y="1430"/>
                </a:cxn>
                <a:cxn ang="0">
                  <a:pos x="10" y="1404"/>
                </a:cxn>
                <a:cxn ang="0">
                  <a:pos x="3" y="1375"/>
                </a:cxn>
                <a:cxn ang="0">
                  <a:pos x="0" y="1345"/>
                </a:cxn>
                <a:cxn ang="0">
                  <a:pos x="0" y="169"/>
                </a:cxn>
                <a:cxn ang="0">
                  <a:pos x="3" y="138"/>
                </a:cxn>
                <a:cxn ang="0">
                  <a:pos x="10" y="110"/>
                </a:cxn>
                <a:cxn ang="0">
                  <a:pos x="22" y="84"/>
                </a:cxn>
                <a:cxn ang="0">
                  <a:pos x="40" y="61"/>
                </a:cxn>
                <a:cxn ang="0">
                  <a:pos x="59" y="41"/>
                </a:cxn>
                <a:cxn ang="0">
                  <a:pos x="83" y="24"/>
                </a:cxn>
                <a:cxn ang="0">
                  <a:pos x="109" y="11"/>
                </a:cxn>
                <a:cxn ang="0">
                  <a:pos x="138" y="4"/>
                </a:cxn>
                <a:cxn ang="0">
                  <a:pos x="168" y="0"/>
                </a:cxn>
              </a:cxnLst>
              <a:rect l="0" t="0" r="r" b="b"/>
              <a:pathLst>
                <a:path w="2128" h="1961">
                  <a:moveTo>
                    <a:pt x="168" y="169"/>
                  </a:moveTo>
                  <a:lnTo>
                    <a:pt x="168" y="1345"/>
                  </a:lnTo>
                  <a:lnTo>
                    <a:pt x="1288" y="1345"/>
                  </a:lnTo>
                  <a:lnTo>
                    <a:pt x="1512" y="1569"/>
                  </a:lnTo>
                  <a:lnTo>
                    <a:pt x="1512" y="1345"/>
                  </a:lnTo>
                  <a:lnTo>
                    <a:pt x="1960" y="1345"/>
                  </a:lnTo>
                  <a:lnTo>
                    <a:pt x="1960" y="169"/>
                  </a:lnTo>
                  <a:lnTo>
                    <a:pt x="168" y="169"/>
                  </a:lnTo>
                  <a:close/>
                  <a:moveTo>
                    <a:pt x="168" y="0"/>
                  </a:moveTo>
                  <a:lnTo>
                    <a:pt x="1960" y="0"/>
                  </a:lnTo>
                  <a:lnTo>
                    <a:pt x="1990" y="4"/>
                  </a:lnTo>
                  <a:lnTo>
                    <a:pt x="2019" y="11"/>
                  </a:lnTo>
                  <a:lnTo>
                    <a:pt x="2045" y="24"/>
                  </a:lnTo>
                  <a:lnTo>
                    <a:pt x="2069" y="41"/>
                  </a:lnTo>
                  <a:lnTo>
                    <a:pt x="2088" y="61"/>
                  </a:lnTo>
                  <a:lnTo>
                    <a:pt x="2105" y="84"/>
                  </a:lnTo>
                  <a:lnTo>
                    <a:pt x="2117" y="110"/>
                  </a:lnTo>
                  <a:lnTo>
                    <a:pt x="2125" y="138"/>
                  </a:lnTo>
                  <a:lnTo>
                    <a:pt x="2128" y="169"/>
                  </a:lnTo>
                  <a:lnTo>
                    <a:pt x="2128" y="1345"/>
                  </a:lnTo>
                  <a:lnTo>
                    <a:pt x="2125" y="1375"/>
                  </a:lnTo>
                  <a:lnTo>
                    <a:pt x="2117" y="1404"/>
                  </a:lnTo>
                  <a:lnTo>
                    <a:pt x="2105" y="1430"/>
                  </a:lnTo>
                  <a:lnTo>
                    <a:pt x="2088" y="1454"/>
                  </a:lnTo>
                  <a:lnTo>
                    <a:pt x="2069" y="1473"/>
                  </a:lnTo>
                  <a:lnTo>
                    <a:pt x="2045" y="1491"/>
                  </a:lnTo>
                  <a:lnTo>
                    <a:pt x="2019" y="1502"/>
                  </a:lnTo>
                  <a:lnTo>
                    <a:pt x="1990" y="1510"/>
                  </a:lnTo>
                  <a:lnTo>
                    <a:pt x="1960" y="1513"/>
                  </a:lnTo>
                  <a:lnTo>
                    <a:pt x="1680" y="1513"/>
                  </a:lnTo>
                  <a:lnTo>
                    <a:pt x="1680" y="1961"/>
                  </a:lnTo>
                  <a:lnTo>
                    <a:pt x="1232" y="1513"/>
                  </a:lnTo>
                  <a:lnTo>
                    <a:pt x="168" y="1513"/>
                  </a:lnTo>
                  <a:lnTo>
                    <a:pt x="138" y="1510"/>
                  </a:lnTo>
                  <a:lnTo>
                    <a:pt x="109" y="1502"/>
                  </a:lnTo>
                  <a:lnTo>
                    <a:pt x="83" y="1491"/>
                  </a:lnTo>
                  <a:lnTo>
                    <a:pt x="59" y="1473"/>
                  </a:lnTo>
                  <a:lnTo>
                    <a:pt x="40" y="1454"/>
                  </a:lnTo>
                  <a:lnTo>
                    <a:pt x="22" y="1430"/>
                  </a:lnTo>
                  <a:lnTo>
                    <a:pt x="10" y="1404"/>
                  </a:lnTo>
                  <a:lnTo>
                    <a:pt x="3" y="1375"/>
                  </a:lnTo>
                  <a:lnTo>
                    <a:pt x="0" y="1345"/>
                  </a:lnTo>
                  <a:lnTo>
                    <a:pt x="0" y="169"/>
                  </a:lnTo>
                  <a:lnTo>
                    <a:pt x="3" y="138"/>
                  </a:lnTo>
                  <a:lnTo>
                    <a:pt x="10" y="110"/>
                  </a:lnTo>
                  <a:lnTo>
                    <a:pt x="22" y="84"/>
                  </a:lnTo>
                  <a:lnTo>
                    <a:pt x="40" y="61"/>
                  </a:lnTo>
                  <a:lnTo>
                    <a:pt x="59" y="41"/>
                  </a:lnTo>
                  <a:lnTo>
                    <a:pt x="83" y="24"/>
                  </a:lnTo>
                  <a:lnTo>
                    <a:pt x="109" y="11"/>
                  </a:lnTo>
                  <a:lnTo>
                    <a:pt x="138" y="4"/>
                  </a:lnTo>
                  <a:lnTo>
                    <a:pt x="1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19944F"/>
                </a:solidFill>
              </a:endParaRPr>
            </a:p>
          </p:txBody>
        </p:sp>
        <p:sp>
          <p:nvSpPr>
            <p:cNvPr id="9" name="Freeform 147">
              <a:extLst>
                <a:ext uri="{FF2B5EF4-FFF2-40B4-BE49-F238E27FC236}">
                  <a16:creationId xmlns:a16="http://schemas.microsoft.com/office/drawing/2014/main" id="{B2BC0B94-7A14-4B3C-8634-E4DB54863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7488" y="2671763"/>
              <a:ext cx="482600" cy="406400"/>
            </a:xfrm>
            <a:custGeom>
              <a:avLst/>
              <a:gdLst/>
              <a:ahLst/>
              <a:cxnLst>
                <a:cxn ang="0">
                  <a:pos x="168" y="0"/>
                </a:cxn>
                <a:cxn ang="0">
                  <a:pos x="1960" y="0"/>
                </a:cxn>
                <a:cxn ang="0">
                  <a:pos x="1990" y="3"/>
                </a:cxn>
                <a:cxn ang="0">
                  <a:pos x="2019" y="10"/>
                </a:cxn>
                <a:cxn ang="0">
                  <a:pos x="2045" y="23"/>
                </a:cxn>
                <a:cxn ang="0">
                  <a:pos x="2069" y="40"/>
                </a:cxn>
                <a:cxn ang="0">
                  <a:pos x="2088" y="60"/>
                </a:cxn>
                <a:cxn ang="0">
                  <a:pos x="2106" y="83"/>
                </a:cxn>
                <a:cxn ang="0">
                  <a:pos x="2118" y="109"/>
                </a:cxn>
                <a:cxn ang="0">
                  <a:pos x="2125" y="138"/>
                </a:cxn>
                <a:cxn ang="0">
                  <a:pos x="2128" y="168"/>
                </a:cxn>
                <a:cxn ang="0">
                  <a:pos x="2128" y="672"/>
                </a:cxn>
                <a:cxn ang="0">
                  <a:pos x="1176" y="672"/>
                </a:cxn>
                <a:cxn ang="0">
                  <a:pos x="1135" y="675"/>
                </a:cxn>
                <a:cxn ang="0">
                  <a:pos x="1096" y="684"/>
                </a:cxn>
                <a:cxn ang="0">
                  <a:pos x="1058" y="698"/>
                </a:cxn>
                <a:cxn ang="0">
                  <a:pos x="1024" y="717"/>
                </a:cxn>
                <a:cxn ang="0">
                  <a:pos x="992" y="741"/>
                </a:cxn>
                <a:cxn ang="0">
                  <a:pos x="964" y="768"/>
                </a:cxn>
                <a:cxn ang="0">
                  <a:pos x="941" y="800"/>
                </a:cxn>
                <a:cxn ang="0">
                  <a:pos x="922" y="835"/>
                </a:cxn>
                <a:cxn ang="0">
                  <a:pos x="908" y="871"/>
                </a:cxn>
                <a:cxn ang="0">
                  <a:pos x="899" y="911"/>
                </a:cxn>
                <a:cxn ang="0">
                  <a:pos x="896" y="952"/>
                </a:cxn>
                <a:cxn ang="0">
                  <a:pos x="896" y="1512"/>
                </a:cxn>
                <a:cxn ang="0">
                  <a:pos x="728" y="1512"/>
                </a:cxn>
                <a:cxn ang="0">
                  <a:pos x="448" y="1792"/>
                </a:cxn>
                <a:cxn ang="0">
                  <a:pos x="448" y="1512"/>
                </a:cxn>
                <a:cxn ang="0">
                  <a:pos x="168" y="1512"/>
                </a:cxn>
                <a:cxn ang="0">
                  <a:pos x="138" y="1509"/>
                </a:cxn>
                <a:cxn ang="0">
                  <a:pos x="109" y="1501"/>
                </a:cxn>
                <a:cxn ang="0">
                  <a:pos x="83" y="1489"/>
                </a:cxn>
                <a:cxn ang="0">
                  <a:pos x="59" y="1472"/>
                </a:cxn>
                <a:cxn ang="0">
                  <a:pos x="40" y="1452"/>
                </a:cxn>
                <a:cxn ang="0">
                  <a:pos x="23" y="1429"/>
                </a:cxn>
                <a:cxn ang="0">
                  <a:pos x="11" y="1403"/>
                </a:cxn>
                <a:cxn ang="0">
                  <a:pos x="3" y="1374"/>
                </a:cxn>
                <a:cxn ang="0">
                  <a:pos x="0" y="1344"/>
                </a:cxn>
                <a:cxn ang="0">
                  <a:pos x="0" y="168"/>
                </a:cxn>
                <a:cxn ang="0">
                  <a:pos x="3" y="138"/>
                </a:cxn>
                <a:cxn ang="0">
                  <a:pos x="11" y="109"/>
                </a:cxn>
                <a:cxn ang="0">
                  <a:pos x="23" y="83"/>
                </a:cxn>
                <a:cxn ang="0">
                  <a:pos x="40" y="60"/>
                </a:cxn>
                <a:cxn ang="0">
                  <a:pos x="59" y="40"/>
                </a:cxn>
                <a:cxn ang="0">
                  <a:pos x="83" y="23"/>
                </a:cxn>
                <a:cxn ang="0">
                  <a:pos x="109" y="10"/>
                </a:cxn>
                <a:cxn ang="0">
                  <a:pos x="138" y="3"/>
                </a:cxn>
                <a:cxn ang="0">
                  <a:pos x="168" y="0"/>
                </a:cxn>
              </a:cxnLst>
              <a:rect l="0" t="0" r="r" b="b"/>
              <a:pathLst>
                <a:path w="2128" h="1792">
                  <a:moveTo>
                    <a:pt x="168" y="0"/>
                  </a:moveTo>
                  <a:lnTo>
                    <a:pt x="1960" y="0"/>
                  </a:lnTo>
                  <a:lnTo>
                    <a:pt x="1990" y="3"/>
                  </a:lnTo>
                  <a:lnTo>
                    <a:pt x="2019" y="10"/>
                  </a:lnTo>
                  <a:lnTo>
                    <a:pt x="2045" y="23"/>
                  </a:lnTo>
                  <a:lnTo>
                    <a:pt x="2069" y="40"/>
                  </a:lnTo>
                  <a:lnTo>
                    <a:pt x="2088" y="60"/>
                  </a:lnTo>
                  <a:lnTo>
                    <a:pt x="2106" y="83"/>
                  </a:lnTo>
                  <a:lnTo>
                    <a:pt x="2118" y="109"/>
                  </a:lnTo>
                  <a:lnTo>
                    <a:pt x="2125" y="138"/>
                  </a:lnTo>
                  <a:lnTo>
                    <a:pt x="2128" y="168"/>
                  </a:lnTo>
                  <a:lnTo>
                    <a:pt x="2128" y="672"/>
                  </a:lnTo>
                  <a:lnTo>
                    <a:pt x="1176" y="672"/>
                  </a:lnTo>
                  <a:lnTo>
                    <a:pt x="1135" y="675"/>
                  </a:lnTo>
                  <a:lnTo>
                    <a:pt x="1096" y="684"/>
                  </a:lnTo>
                  <a:lnTo>
                    <a:pt x="1058" y="698"/>
                  </a:lnTo>
                  <a:lnTo>
                    <a:pt x="1024" y="717"/>
                  </a:lnTo>
                  <a:lnTo>
                    <a:pt x="992" y="741"/>
                  </a:lnTo>
                  <a:lnTo>
                    <a:pt x="964" y="768"/>
                  </a:lnTo>
                  <a:lnTo>
                    <a:pt x="941" y="800"/>
                  </a:lnTo>
                  <a:lnTo>
                    <a:pt x="922" y="835"/>
                  </a:lnTo>
                  <a:lnTo>
                    <a:pt x="908" y="871"/>
                  </a:lnTo>
                  <a:lnTo>
                    <a:pt x="899" y="911"/>
                  </a:lnTo>
                  <a:lnTo>
                    <a:pt x="896" y="952"/>
                  </a:lnTo>
                  <a:lnTo>
                    <a:pt x="896" y="1512"/>
                  </a:lnTo>
                  <a:lnTo>
                    <a:pt x="728" y="1512"/>
                  </a:lnTo>
                  <a:lnTo>
                    <a:pt x="448" y="1792"/>
                  </a:lnTo>
                  <a:lnTo>
                    <a:pt x="448" y="1512"/>
                  </a:lnTo>
                  <a:lnTo>
                    <a:pt x="168" y="1512"/>
                  </a:lnTo>
                  <a:lnTo>
                    <a:pt x="138" y="1509"/>
                  </a:lnTo>
                  <a:lnTo>
                    <a:pt x="109" y="1501"/>
                  </a:lnTo>
                  <a:lnTo>
                    <a:pt x="83" y="1489"/>
                  </a:lnTo>
                  <a:lnTo>
                    <a:pt x="59" y="1472"/>
                  </a:lnTo>
                  <a:lnTo>
                    <a:pt x="40" y="1452"/>
                  </a:lnTo>
                  <a:lnTo>
                    <a:pt x="23" y="1429"/>
                  </a:lnTo>
                  <a:lnTo>
                    <a:pt x="11" y="1403"/>
                  </a:lnTo>
                  <a:lnTo>
                    <a:pt x="3" y="1374"/>
                  </a:lnTo>
                  <a:lnTo>
                    <a:pt x="0" y="1344"/>
                  </a:lnTo>
                  <a:lnTo>
                    <a:pt x="0" y="168"/>
                  </a:lnTo>
                  <a:lnTo>
                    <a:pt x="3" y="138"/>
                  </a:lnTo>
                  <a:lnTo>
                    <a:pt x="11" y="109"/>
                  </a:lnTo>
                  <a:lnTo>
                    <a:pt x="23" y="83"/>
                  </a:lnTo>
                  <a:lnTo>
                    <a:pt x="40" y="60"/>
                  </a:lnTo>
                  <a:lnTo>
                    <a:pt x="59" y="40"/>
                  </a:lnTo>
                  <a:lnTo>
                    <a:pt x="83" y="23"/>
                  </a:lnTo>
                  <a:lnTo>
                    <a:pt x="109" y="10"/>
                  </a:lnTo>
                  <a:lnTo>
                    <a:pt x="138" y="3"/>
                  </a:lnTo>
                  <a:lnTo>
                    <a:pt x="1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19944F"/>
                </a:solidFill>
              </a:endParaRPr>
            </a:p>
          </p:txBody>
        </p:sp>
      </p:grpSp>
      <p:sp>
        <p:nvSpPr>
          <p:cNvPr id="10" name="Freeform 55">
            <a:extLst>
              <a:ext uri="{FF2B5EF4-FFF2-40B4-BE49-F238E27FC236}">
                <a16:creationId xmlns:a16="http://schemas.microsoft.com/office/drawing/2014/main" id="{00583DB2-966E-44C8-81E3-7444CD326342}"/>
              </a:ext>
            </a:extLst>
          </p:cNvPr>
          <p:cNvSpPr>
            <a:spLocks noEditPoints="1"/>
          </p:cNvSpPr>
          <p:nvPr/>
        </p:nvSpPr>
        <p:spPr bwMode="auto">
          <a:xfrm>
            <a:off x="6693592" y="2343449"/>
            <a:ext cx="1356950" cy="864096"/>
          </a:xfrm>
          <a:custGeom>
            <a:avLst/>
            <a:gdLst/>
            <a:ahLst/>
            <a:cxnLst>
              <a:cxn ang="0">
                <a:pos x="252" y="65"/>
              </a:cxn>
              <a:cxn ang="0">
                <a:pos x="193" y="89"/>
              </a:cxn>
              <a:cxn ang="0">
                <a:pos x="207" y="146"/>
              </a:cxn>
              <a:cxn ang="0">
                <a:pos x="222" y="119"/>
              </a:cxn>
              <a:cxn ang="0">
                <a:pos x="273" y="150"/>
              </a:cxn>
              <a:cxn ang="0">
                <a:pos x="329" y="205"/>
              </a:cxn>
              <a:cxn ang="0">
                <a:pos x="325" y="220"/>
              </a:cxn>
              <a:cxn ang="0">
                <a:pos x="277" y="183"/>
              </a:cxn>
              <a:cxn ang="0">
                <a:pos x="271" y="190"/>
              </a:cxn>
              <a:cxn ang="0">
                <a:pos x="298" y="241"/>
              </a:cxn>
              <a:cxn ang="0">
                <a:pos x="241" y="199"/>
              </a:cxn>
              <a:cxn ang="0">
                <a:pos x="289" y="246"/>
              </a:cxn>
              <a:cxn ang="0">
                <a:pos x="228" y="219"/>
              </a:cxn>
              <a:cxn ang="0">
                <a:pos x="222" y="226"/>
              </a:cxn>
              <a:cxn ang="0">
                <a:pos x="233" y="257"/>
              </a:cxn>
              <a:cxn ang="0">
                <a:pos x="235" y="268"/>
              </a:cxn>
              <a:cxn ang="0">
                <a:pos x="293" y="256"/>
              </a:cxn>
              <a:cxn ang="0">
                <a:pos x="336" y="196"/>
              </a:cxn>
              <a:cxn ang="0">
                <a:pos x="308" y="85"/>
              </a:cxn>
              <a:cxn ang="0">
                <a:pos x="191" y="210"/>
              </a:cxn>
              <a:cxn ang="0">
                <a:pos x="230" y="265"/>
              </a:cxn>
              <a:cxn ang="0">
                <a:pos x="137" y="220"/>
              </a:cxn>
              <a:cxn ang="0">
                <a:pos x="157" y="196"/>
              </a:cxn>
              <a:cxn ang="0">
                <a:pos x="362" y="204"/>
              </a:cxn>
              <a:cxn ang="0">
                <a:pos x="438" y="0"/>
              </a:cxn>
              <a:cxn ang="0">
                <a:pos x="112" y="72"/>
              </a:cxn>
              <a:cxn ang="0">
                <a:pos x="0" y="182"/>
              </a:cxn>
              <a:cxn ang="0">
                <a:pos x="112" y="72"/>
              </a:cxn>
              <a:cxn ang="0">
                <a:pos x="89" y="173"/>
              </a:cxn>
              <a:cxn ang="0">
                <a:pos x="198" y="77"/>
              </a:cxn>
              <a:cxn ang="0">
                <a:pos x="187" y="85"/>
              </a:cxn>
              <a:cxn ang="0">
                <a:pos x="125" y="88"/>
              </a:cxn>
              <a:cxn ang="0">
                <a:pos x="136" y="190"/>
              </a:cxn>
              <a:cxn ang="0">
                <a:pos x="129" y="198"/>
              </a:cxn>
            </a:cxnLst>
            <a:rect l="0" t="0" r="r" b="b"/>
            <a:pathLst>
              <a:path w="438" h="279">
                <a:moveTo>
                  <a:pt x="308" y="85"/>
                </a:moveTo>
                <a:cubicBezTo>
                  <a:pt x="308" y="85"/>
                  <a:pt x="270" y="70"/>
                  <a:pt x="252" y="65"/>
                </a:cubicBezTo>
                <a:cubicBezTo>
                  <a:pt x="239" y="62"/>
                  <a:pt x="237" y="64"/>
                  <a:pt x="226" y="70"/>
                </a:cubicBezTo>
                <a:cubicBezTo>
                  <a:pt x="217" y="75"/>
                  <a:pt x="201" y="82"/>
                  <a:pt x="193" y="89"/>
                </a:cubicBezTo>
                <a:cubicBezTo>
                  <a:pt x="188" y="94"/>
                  <a:pt x="181" y="142"/>
                  <a:pt x="181" y="143"/>
                </a:cubicBezTo>
                <a:cubicBezTo>
                  <a:pt x="180" y="156"/>
                  <a:pt x="198" y="156"/>
                  <a:pt x="207" y="146"/>
                </a:cubicBezTo>
                <a:cubicBezTo>
                  <a:pt x="212" y="139"/>
                  <a:pt x="217" y="129"/>
                  <a:pt x="220" y="122"/>
                </a:cubicBezTo>
                <a:cubicBezTo>
                  <a:pt x="223" y="117"/>
                  <a:pt x="222" y="119"/>
                  <a:pt x="222" y="119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46" y="125"/>
                  <a:pt x="259" y="137"/>
                  <a:pt x="273" y="150"/>
                </a:cubicBezTo>
                <a:cubicBezTo>
                  <a:pt x="294" y="171"/>
                  <a:pt x="315" y="191"/>
                  <a:pt x="324" y="199"/>
                </a:cubicBezTo>
                <a:cubicBezTo>
                  <a:pt x="327" y="201"/>
                  <a:pt x="328" y="203"/>
                  <a:pt x="329" y="205"/>
                </a:cubicBezTo>
                <a:cubicBezTo>
                  <a:pt x="330" y="207"/>
                  <a:pt x="330" y="209"/>
                  <a:pt x="329" y="212"/>
                </a:cubicBezTo>
                <a:cubicBezTo>
                  <a:pt x="328" y="214"/>
                  <a:pt x="327" y="217"/>
                  <a:pt x="325" y="220"/>
                </a:cubicBezTo>
                <a:cubicBezTo>
                  <a:pt x="324" y="221"/>
                  <a:pt x="323" y="222"/>
                  <a:pt x="323" y="222"/>
                </a:cubicBezTo>
                <a:cubicBezTo>
                  <a:pt x="277" y="183"/>
                  <a:pt x="277" y="183"/>
                  <a:pt x="277" y="183"/>
                </a:cubicBezTo>
                <a:cubicBezTo>
                  <a:pt x="275" y="182"/>
                  <a:pt x="272" y="182"/>
                  <a:pt x="271" y="184"/>
                </a:cubicBezTo>
                <a:cubicBezTo>
                  <a:pt x="269" y="186"/>
                  <a:pt x="269" y="188"/>
                  <a:pt x="271" y="190"/>
                </a:cubicBezTo>
                <a:cubicBezTo>
                  <a:pt x="316" y="228"/>
                  <a:pt x="316" y="228"/>
                  <a:pt x="316" y="228"/>
                </a:cubicBezTo>
                <a:cubicBezTo>
                  <a:pt x="310" y="233"/>
                  <a:pt x="304" y="238"/>
                  <a:pt x="298" y="241"/>
                </a:cubicBezTo>
                <a:cubicBezTo>
                  <a:pt x="248" y="198"/>
                  <a:pt x="248" y="198"/>
                  <a:pt x="248" y="198"/>
                </a:cubicBezTo>
                <a:cubicBezTo>
                  <a:pt x="246" y="197"/>
                  <a:pt x="243" y="197"/>
                  <a:pt x="241" y="199"/>
                </a:cubicBezTo>
                <a:cubicBezTo>
                  <a:pt x="240" y="201"/>
                  <a:pt x="240" y="204"/>
                  <a:pt x="242" y="205"/>
                </a:cubicBezTo>
                <a:cubicBezTo>
                  <a:pt x="289" y="246"/>
                  <a:pt x="289" y="246"/>
                  <a:pt x="289" y="246"/>
                </a:cubicBezTo>
                <a:cubicBezTo>
                  <a:pt x="282" y="249"/>
                  <a:pt x="273" y="250"/>
                  <a:pt x="265" y="252"/>
                </a:cubicBezTo>
                <a:cubicBezTo>
                  <a:pt x="228" y="219"/>
                  <a:pt x="228" y="219"/>
                  <a:pt x="228" y="219"/>
                </a:cubicBezTo>
                <a:cubicBezTo>
                  <a:pt x="226" y="217"/>
                  <a:pt x="223" y="217"/>
                  <a:pt x="222" y="219"/>
                </a:cubicBezTo>
                <a:cubicBezTo>
                  <a:pt x="220" y="221"/>
                  <a:pt x="220" y="224"/>
                  <a:pt x="222" y="226"/>
                </a:cubicBezTo>
                <a:cubicBezTo>
                  <a:pt x="254" y="254"/>
                  <a:pt x="254" y="254"/>
                  <a:pt x="254" y="254"/>
                </a:cubicBezTo>
                <a:cubicBezTo>
                  <a:pt x="248" y="255"/>
                  <a:pt x="240" y="257"/>
                  <a:pt x="233" y="257"/>
                </a:cubicBezTo>
                <a:cubicBezTo>
                  <a:pt x="234" y="260"/>
                  <a:pt x="235" y="263"/>
                  <a:pt x="235" y="266"/>
                </a:cubicBezTo>
                <a:cubicBezTo>
                  <a:pt x="235" y="267"/>
                  <a:pt x="236" y="267"/>
                  <a:pt x="235" y="268"/>
                </a:cubicBezTo>
                <a:cubicBezTo>
                  <a:pt x="243" y="267"/>
                  <a:pt x="257" y="265"/>
                  <a:pt x="270" y="262"/>
                </a:cubicBezTo>
                <a:cubicBezTo>
                  <a:pt x="280" y="260"/>
                  <a:pt x="288" y="258"/>
                  <a:pt x="293" y="256"/>
                </a:cubicBezTo>
                <a:cubicBezTo>
                  <a:pt x="303" y="251"/>
                  <a:pt x="322" y="240"/>
                  <a:pt x="333" y="227"/>
                </a:cubicBezTo>
                <a:cubicBezTo>
                  <a:pt x="340" y="218"/>
                  <a:pt x="343" y="207"/>
                  <a:pt x="336" y="196"/>
                </a:cubicBezTo>
                <a:cubicBezTo>
                  <a:pt x="360" y="182"/>
                  <a:pt x="360" y="182"/>
                  <a:pt x="360" y="182"/>
                </a:cubicBezTo>
                <a:cubicBezTo>
                  <a:pt x="356" y="138"/>
                  <a:pt x="323" y="90"/>
                  <a:pt x="308" y="85"/>
                </a:cubicBezTo>
                <a:close/>
                <a:moveTo>
                  <a:pt x="157" y="196"/>
                </a:moveTo>
                <a:cubicBezTo>
                  <a:pt x="167" y="198"/>
                  <a:pt x="180" y="202"/>
                  <a:pt x="191" y="210"/>
                </a:cubicBezTo>
                <a:cubicBezTo>
                  <a:pt x="213" y="226"/>
                  <a:pt x="222" y="242"/>
                  <a:pt x="226" y="252"/>
                </a:cubicBezTo>
                <a:cubicBezTo>
                  <a:pt x="228" y="256"/>
                  <a:pt x="230" y="261"/>
                  <a:pt x="230" y="265"/>
                </a:cubicBezTo>
                <a:cubicBezTo>
                  <a:pt x="230" y="268"/>
                  <a:pt x="231" y="268"/>
                  <a:pt x="229" y="269"/>
                </a:cubicBezTo>
                <a:cubicBezTo>
                  <a:pt x="205" y="279"/>
                  <a:pt x="154" y="247"/>
                  <a:pt x="137" y="220"/>
                </a:cubicBezTo>
                <a:cubicBezTo>
                  <a:pt x="134" y="215"/>
                  <a:pt x="128" y="202"/>
                  <a:pt x="133" y="197"/>
                </a:cubicBezTo>
                <a:cubicBezTo>
                  <a:pt x="139" y="193"/>
                  <a:pt x="155" y="196"/>
                  <a:pt x="157" y="196"/>
                </a:cubicBezTo>
                <a:close/>
                <a:moveTo>
                  <a:pt x="321" y="77"/>
                </a:moveTo>
                <a:cubicBezTo>
                  <a:pt x="341" y="91"/>
                  <a:pt x="399" y="185"/>
                  <a:pt x="362" y="204"/>
                </a:cubicBezTo>
                <a:cubicBezTo>
                  <a:pt x="356" y="219"/>
                  <a:pt x="434" y="187"/>
                  <a:pt x="438" y="186"/>
                </a:cubicBezTo>
                <a:cubicBezTo>
                  <a:pt x="438" y="0"/>
                  <a:pt x="438" y="0"/>
                  <a:pt x="438" y="0"/>
                </a:cubicBezTo>
                <a:cubicBezTo>
                  <a:pt x="321" y="77"/>
                  <a:pt x="321" y="77"/>
                  <a:pt x="321" y="77"/>
                </a:cubicBezTo>
                <a:close/>
                <a:moveTo>
                  <a:pt x="112" y="72"/>
                </a:moveTo>
                <a:cubicBezTo>
                  <a:pt x="91" y="97"/>
                  <a:pt x="59" y="188"/>
                  <a:pt x="97" y="208"/>
                </a:cubicBezTo>
                <a:cubicBezTo>
                  <a:pt x="106" y="226"/>
                  <a:pt x="2" y="183"/>
                  <a:pt x="0" y="182"/>
                </a:cubicBezTo>
                <a:cubicBezTo>
                  <a:pt x="0" y="3"/>
                  <a:pt x="0" y="3"/>
                  <a:pt x="0" y="3"/>
                </a:cubicBezTo>
                <a:cubicBezTo>
                  <a:pt x="112" y="72"/>
                  <a:pt x="112" y="72"/>
                  <a:pt x="112" y="72"/>
                </a:cubicBezTo>
                <a:close/>
                <a:moveTo>
                  <a:pt x="129" y="198"/>
                </a:moveTo>
                <a:cubicBezTo>
                  <a:pt x="89" y="173"/>
                  <a:pt x="89" y="173"/>
                  <a:pt x="89" y="173"/>
                </a:cubicBezTo>
                <a:cubicBezTo>
                  <a:pt x="90" y="136"/>
                  <a:pt x="100" y="108"/>
                  <a:pt x="119" y="76"/>
                </a:cubicBezTo>
                <a:cubicBezTo>
                  <a:pt x="198" y="77"/>
                  <a:pt x="198" y="77"/>
                  <a:pt x="198" y="77"/>
                </a:cubicBezTo>
                <a:cubicBezTo>
                  <a:pt x="199" y="77"/>
                  <a:pt x="200" y="77"/>
                  <a:pt x="201" y="77"/>
                </a:cubicBezTo>
                <a:cubicBezTo>
                  <a:pt x="194" y="81"/>
                  <a:pt x="189" y="84"/>
                  <a:pt x="187" y="85"/>
                </a:cubicBezTo>
                <a:cubicBezTo>
                  <a:pt x="187" y="86"/>
                  <a:pt x="186" y="87"/>
                  <a:pt x="186" y="88"/>
                </a:cubicBezTo>
                <a:cubicBezTo>
                  <a:pt x="165" y="88"/>
                  <a:pt x="145" y="88"/>
                  <a:pt x="125" y="88"/>
                </a:cubicBezTo>
                <a:cubicBezTo>
                  <a:pt x="110" y="112"/>
                  <a:pt x="101" y="139"/>
                  <a:pt x="100" y="167"/>
                </a:cubicBezTo>
                <a:cubicBezTo>
                  <a:pt x="136" y="190"/>
                  <a:pt x="136" y="190"/>
                  <a:pt x="136" y="190"/>
                </a:cubicBezTo>
                <a:cubicBezTo>
                  <a:pt x="137" y="191"/>
                  <a:pt x="138" y="191"/>
                  <a:pt x="139" y="192"/>
                </a:cubicBezTo>
                <a:cubicBezTo>
                  <a:pt x="135" y="192"/>
                  <a:pt x="130" y="193"/>
                  <a:pt x="129" y="198"/>
                </a:cubicBezTo>
                <a:close/>
              </a:path>
            </a:pathLst>
          </a:custGeom>
          <a:solidFill>
            <a:srgbClr val="19944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19944F"/>
              </a:solidFill>
            </a:endParaRPr>
          </a:p>
        </p:txBody>
      </p:sp>
      <p:grpSp>
        <p:nvGrpSpPr>
          <p:cNvPr id="11" name="Gruppieren 23">
            <a:extLst>
              <a:ext uri="{FF2B5EF4-FFF2-40B4-BE49-F238E27FC236}">
                <a16:creationId xmlns:a16="http://schemas.microsoft.com/office/drawing/2014/main" id="{2E1572EC-78BC-47BD-BEEC-B917BADBF30C}"/>
              </a:ext>
            </a:extLst>
          </p:cNvPr>
          <p:cNvGrpSpPr/>
          <p:nvPr/>
        </p:nvGrpSpPr>
        <p:grpSpPr>
          <a:xfrm>
            <a:off x="4175804" y="2294704"/>
            <a:ext cx="1273646" cy="994243"/>
            <a:chOff x="3663530" y="4760071"/>
            <a:chExt cx="1054363" cy="823065"/>
          </a:xfrm>
          <a:solidFill>
            <a:srgbClr val="19944F"/>
          </a:solidFill>
        </p:grpSpPr>
        <p:sp>
          <p:nvSpPr>
            <p:cNvPr id="12" name="Freeform 41">
              <a:extLst>
                <a:ext uri="{FF2B5EF4-FFF2-40B4-BE49-F238E27FC236}">
                  <a16:creationId xmlns:a16="http://schemas.microsoft.com/office/drawing/2014/main" id="{02877955-C454-4784-8842-C3EA63AF29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3530" y="5185121"/>
              <a:ext cx="379992" cy="398015"/>
            </a:xfrm>
            <a:custGeom>
              <a:avLst/>
              <a:gdLst/>
              <a:ahLst/>
              <a:cxnLst>
                <a:cxn ang="0">
                  <a:pos x="94" y="29"/>
                </a:cxn>
                <a:cxn ang="0">
                  <a:pos x="66" y="0"/>
                </a:cxn>
                <a:cxn ang="0">
                  <a:pos x="37" y="29"/>
                </a:cxn>
                <a:cxn ang="0">
                  <a:pos x="94" y="29"/>
                </a:cxn>
                <a:cxn ang="0">
                  <a:pos x="0" y="137"/>
                </a:cxn>
                <a:cxn ang="0">
                  <a:pos x="7" y="97"/>
                </a:cxn>
                <a:cxn ang="0">
                  <a:pos x="39" y="75"/>
                </a:cxn>
                <a:cxn ang="0">
                  <a:pos x="42" y="75"/>
                </a:cxn>
                <a:cxn ang="0">
                  <a:pos x="60" y="103"/>
                </a:cxn>
                <a:cxn ang="0">
                  <a:pos x="61" y="89"/>
                </a:cxn>
                <a:cxn ang="0">
                  <a:pos x="58" y="85"/>
                </a:cxn>
                <a:cxn ang="0">
                  <a:pos x="66" y="79"/>
                </a:cxn>
                <a:cxn ang="0">
                  <a:pos x="74" y="85"/>
                </a:cxn>
                <a:cxn ang="0">
                  <a:pos x="71" y="89"/>
                </a:cxn>
                <a:cxn ang="0">
                  <a:pos x="71" y="103"/>
                </a:cxn>
                <a:cxn ang="0">
                  <a:pos x="90" y="75"/>
                </a:cxn>
                <a:cxn ang="0">
                  <a:pos x="92" y="75"/>
                </a:cxn>
                <a:cxn ang="0">
                  <a:pos x="124" y="97"/>
                </a:cxn>
                <a:cxn ang="0">
                  <a:pos x="131" y="137"/>
                </a:cxn>
                <a:cxn ang="0">
                  <a:pos x="0" y="137"/>
                </a:cxn>
              </a:cxnLst>
              <a:rect l="0" t="0" r="r" b="b"/>
              <a:pathLst>
                <a:path w="131" h="137">
                  <a:moveTo>
                    <a:pt x="94" y="29"/>
                  </a:moveTo>
                  <a:cubicBezTo>
                    <a:pt x="94" y="13"/>
                    <a:pt x="83" y="0"/>
                    <a:pt x="66" y="0"/>
                  </a:cubicBezTo>
                  <a:cubicBezTo>
                    <a:pt x="47" y="0"/>
                    <a:pt x="37" y="13"/>
                    <a:pt x="37" y="29"/>
                  </a:cubicBezTo>
                  <a:cubicBezTo>
                    <a:pt x="37" y="90"/>
                    <a:pt x="94" y="89"/>
                    <a:pt x="94" y="29"/>
                  </a:cubicBezTo>
                  <a:close/>
                  <a:moveTo>
                    <a:pt x="0" y="137"/>
                  </a:moveTo>
                  <a:cubicBezTo>
                    <a:pt x="0" y="123"/>
                    <a:pt x="1" y="108"/>
                    <a:pt x="7" y="97"/>
                  </a:cubicBezTo>
                  <a:cubicBezTo>
                    <a:pt x="13" y="85"/>
                    <a:pt x="25" y="75"/>
                    <a:pt x="39" y="75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1" y="89"/>
                    <a:pt x="71" y="89"/>
                    <a:pt x="71" y="89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106" y="75"/>
                    <a:pt x="118" y="85"/>
                    <a:pt x="124" y="97"/>
                  </a:cubicBezTo>
                  <a:cubicBezTo>
                    <a:pt x="130" y="108"/>
                    <a:pt x="131" y="123"/>
                    <a:pt x="131" y="137"/>
                  </a:cubicBezTo>
                  <a:cubicBezTo>
                    <a:pt x="0" y="137"/>
                    <a:pt x="0" y="137"/>
                    <a:pt x="0" y="1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19944F"/>
                </a:solidFill>
              </a:endParaRPr>
            </a:p>
          </p:txBody>
        </p:sp>
        <p:sp>
          <p:nvSpPr>
            <p:cNvPr id="13" name="Freeform 42">
              <a:extLst>
                <a:ext uri="{FF2B5EF4-FFF2-40B4-BE49-F238E27FC236}">
                  <a16:creationId xmlns:a16="http://schemas.microsoft.com/office/drawing/2014/main" id="{6E51E4C9-3793-402B-90D9-A9710CBF17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7901" y="5185121"/>
              <a:ext cx="379992" cy="398015"/>
            </a:xfrm>
            <a:custGeom>
              <a:avLst/>
              <a:gdLst/>
              <a:ahLst/>
              <a:cxnLst>
                <a:cxn ang="0">
                  <a:pos x="94" y="29"/>
                </a:cxn>
                <a:cxn ang="0">
                  <a:pos x="65" y="0"/>
                </a:cxn>
                <a:cxn ang="0">
                  <a:pos x="37" y="29"/>
                </a:cxn>
                <a:cxn ang="0">
                  <a:pos x="94" y="29"/>
                </a:cxn>
                <a:cxn ang="0">
                  <a:pos x="0" y="137"/>
                </a:cxn>
                <a:cxn ang="0">
                  <a:pos x="7" y="97"/>
                </a:cxn>
                <a:cxn ang="0">
                  <a:pos x="39" y="75"/>
                </a:cxn>
                <a:cxn ang="0">
                  <a:pos x="41" y="75"/>
                </a:cxn>
                <a:cxn ang="0">
                  <a:pos x="60" y="103"/>
                </a:cxn>
                <a:cxn ang="0">
                  <a:pos x="60" y="89"/>
                </a:cxn>
                <a:cxn ang="0">
                  <a:pos x="57" y="85"/>
                </a:cxn>
                <a:cxn ang="0">
                  <a:pos x="65" y="79"/>
                </a:cxn>
                <a:cxn ang="0">
                  <a:pos x="73" y="85"/>
                </a:cxn>
                <a:cxn ang="0">
                  <a:pos x="70" y="89"/>
                </a:cxn>
                <a:cxn ang="0">
                  <a:pos x="71" y="103"/>
                </a:cxn>
                <a:cxn ang="0">
                  <a:pos x="89" y="75"/>
                </a:cxn>
                <a:cxn ang="0">
                  <a:pos x="92" y="75"/>
                </a:cxn>
                <a:cxn ang="0">
                  <a:pos x="123" y="97"/>
                </a:cxn>
                <a:cxn ang="0">
                  <a:pos x="131" y="137"/>
                </a:cxn>
                <a:cxn ang="0">
                  <a:pos x="0" y="137"/>
                </a:cxn>
              </a:cxnLst>
              <a:rect l="0" t="0" r="r" b="b"/>
              <a:pathLst>
                <a:path w="131" h="137">
                  <a:moveTo>
                    <a:pt x="94" y="29"/>
                  </a:moveTo>
                  <a:cubicBezTo>
                    <a:pt x="93" y="13"/>
                    <a:pt x="83" y="0"/>
                    <a:pt x="65" y="0"/>
                  </a:cubicBezTo>
                  <a:cubicBezTo>
                    <a:pt x="47" y="0"/>
                    <a:pt x="37" y="13"/>
                    <a:pt x="37" y="29"/>
                  </a:cubicBezTo>
                  <a:cubicBezTo>
                    <a:pt x="37" y="90"/>
                    <a:pt x="94" y="89"/>
                    <a:pt x="94" y="29"/>
                  </a:cubicBezTo>
                  <a:close/>
                  <a:moveTo>
                    <a:pt x="0" y="137"/>
                  </a:moveTo>
                  <a:cubicBezTo>
                    <a:pt x="0" y="123"/>
                    <a:pt x="1" y="108"/>
                    <a:pt x="7" y="97"/>
                  </a:cubicBezTo>
                  <a:cubicBezTo>
                    <a:pt x="13" y="85"/>
                    <a:pt x="25" y="75"/>
                    <a:pt x="39" y="75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89" y="75"/>
                    <a:pt x="89" y="75"/>
                    <a:pt x="89" y="75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106" y="75"/>
                    <a:pt x="117" y="85"/>
                    <a:pt x="123" y="97"/>
                  </a:cubicBezTo>
                  <a:cubicBezTo>
                    <a:pt x="129" y="108"/>
                    <a:pt x="131" y="123"/>
                    <a:pt x="131" y="137"/>
                  </a:cubicBezTo>
                  <a:cubicBezTo>
                    <a:pt x="0" y="137"/>
                    <a:pt x="0" y="137"/>
                    <a:pt x="0" y="1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19944F"/>
                </a:solidFill>
              </a:endParaRPr>
            </a:p>
          </p:txBody>
        </p:sp>
        <p:sp>
          <p:nvSpPr>
            <p:cNvPr id="14" name="Freeform 43">
              <a:extLst>
                <a:ext uri="{FF2B5EF4-FFF2-40B4-BE49-F238E27FC236}">
                  <a16:creationId xmlns:a16="http://schemas.microsoft.com/office/drawing/2014/main" id="{DADD8CD2-71CB-4D7A-AC56-5AB507D044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8977" y="4760071"/>
              <a:ext cx="379992" cy="398015"/>
            </a:xfrm>
            <a:custGeom>
              <a:avLst/>
              <a:gdLst/>
              <a:ahLst/>
              <a:cxnLst>
                <a:cxn ang="0">
                  <a:pos x="94" y="29"/>
                </a:cxn>
                <a:cxn ang="0">
                  <a:pos x="66" y="0"/>
                </a:cxn>
                <a:cxn ang="0">
                  <a:pos x="37" y="29"/>
                </a:cxn>
                <a:cxn ang="0">
                  <a:pos x="94" y="29"/>
                </a:cxn>
                <a:cxn ang="0">
                  <a:pos x="0" y="137"/>
                </a:cxn>
                <a:cxn ang="0">
                  <a:pos x="8" y="97"/>
                </a:cxn>
                <a:cxn ang="0">
                  <a:pos x="39" y="75"/>
                </a:cxn>
                <a:cxn ang="0">
                  <a:pos x="42" y="75"/>
                </a:cxn>
                <a:cxn ang="0">
                  <a:pos x="60" y="103"/>
                </a:cxn>
                <a:cxn ang="0">
                  <a:pos x="61" y="89"/>
                </a:cxn>
                <a:cxn ang="0">
                  <a:pos x="58" y="85"/>
                </a:cxn>
                <a:cxn ang="0">
                  <a:pos x="66" y="79"/>
                </a:cxn>
                <a:cxn ang="0">
                  <a:pos x="74" y="85"/>
                </a:cxn>
                <a:cxn ang="0">
                  <a:pos x="71" y="89"/>
                </a:cxn>
                <a:cxn ang="0">
                  <a:pos x="71" y="103"/>
                </a:cxn>
                <a:cxn ang="0">
                  <a:pos x="90" y="75"/>
                </a:cxn>
                <a:cxn ang="0">
                  <a:pos x="93" y="75"/>
                </a:cxn>
                <a:cxn ang="0">
                  <a:pos x="124" y="97"/>
                </a:cxn>
                <a:cxn ang="0">
                  <a:pos x="131" y="137"/>
                </a:cxn>
                <a:cxn ang="0">
                  <a:pos x="0" y="137"/>
                </a:cxn>
              </a:cxnLst>
              <a:rect l="0" t="0" r="r" b="b"/>
              <a:pathLst>
                <a:path w="131" h="137">
                  <a:moveTo>
                    <a:pt x="94" y="29"/>
                  </a:moveTo>
                  <a:cubicBezTo>
                    <a:pt x="94" y="13"/>
                    <a:pt x="83" y="0"/>
                    <a:pt x="66" y="0"/>
                  </a:cubicBezTo>
                  <a:cubicBezTo>
                    <a:pt x="47" y="0"/>
                    <a:pt x="38" y="13"/>
                    <a:pt x="37" y="29"/>
                  </a:cubicBezTo>
                  <a:cubicBezTo>
                    <a:pt x="37" y="90"/>
                    <a:pt x="95" y="89"/>
                    <a:pt x="94" y="29"/>
                  </a:cubicBezTo>
                  <a:close/>
                  <a:moveTo>
                    <a:pt x="0" y="137"/>
                  </a:moveTo>
                  <a:cubicBezTo>
                    <a:pt x="0" y="123"/>
                    <a:pt x="2" y="109"/>
                    <a:pt x="8" y="97"/>
                  </a:cubicBezTo>
                  <a:cubicBezTo>
                    <a:pt x="14" y="86"/>
                    <a:pt x="25" y="75"/>
                    <a:pt x="39" y="75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1" y="89"/>
                    <a:pt x="71" y="89"/>
                    <a:pt x="71" y="89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106" y="75"/>
                    <a:pt x="118" y="85"/>
                    <a:pt x="124" y="97"/>
                  </a:cubicBezTo>
                  <a:cubicBezTo>
                    <a:pt x="130" y="108"/>
                    <a:pt x="131" y="123"/>
                    <a:pt x="131" y="137"/>
                  </a:cubicBezTo>
                  <a:cubicBezTo>
                    <a:pt x="0" y="137"/>
                    <a:pt x="0" y="137"/>
                    <a:pt x="0" y="1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19944F"/>
                </a:solidFill>
              </a:endParaRPr>
            </a:p>
          </p:txBody>
        </p:sp>
        <p:sp>
          <p:nvSpPr>
            <p:cNvPr id="15" name="Freeform 44">
              <a:extLst>
                <a:ext uri="{FF2B5EF4-FFF2-40B4-BE49-F238E27FC236}">
                  <a16:creationId xmlns:a16="http://schemas.microsoft.com/office/drawing/2014/main" id="{72ABA64C-4500-4A76-9E8D-968DBE59D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552" y="5207650"/>
              <a:ext cx="267346" cy="229798"/>
            </a:xfrm>
            <a:custGeom>
              <a:avLst/>
              <a:gdLst/>
              <a:ahLst/>
              <a:cxnLst>
                <a:cxn ang="0">
                  <a:pos x="89" y="113"/>
                </a:cxn>
                <a:cxn ang="0">
                  <a:pos x="17" y="153"/>
                </a:cxn>
                <a:cxn ang="0">
                  <a:pos x="0" y="124"/>
                </a:cxn>
                <a:cxn ang="0">
                  <a:pos x="71" y="84"/>
                </a:cxn>
                <a:cxn ang="0">
                  <a:pos x="71" y="0"/>
                </a:cxn>
                <a:cxn ang="0">
                  <a:pos x="106" y="0"/>
                </a:cxn>
                <a:cxn ang="0">
                  <a:pos x="106" y="84"/>
                </a:cxn>
                <a:cxn ang="0">
                  <a:pos x="178" y="124"/>
                </a:cxn>
                <a:cxn ang="0">
                  <a:pos x="160" y="153"/>
                </a:cxn>
                <a:cxn ang="0">
                  <a:pos x="89" y="113"/>
                </a:cxn>
                <a:cxn ang="0">
                  <a:pos x="89" y="113"/>
                </a:cxn>
              </a:cxnLst>
              <a:rect l="0" t="0" r="r" b="b"/>
              <a:pathLst>
                <a:path w="178" h="153">
                  <a:moveTo>
                    <a:pt x="89" y="113"/>
                  </a:moveTo>
                  <a:lnTo>
                    <a:pt x="17" y="153"/>
                  </a:lnTo>
                  <a:lnTo>
                    <a:pt x="0" y="124"/>
                  </a:lnTo>
                  <a:lnTo>
                    <a:pt x="71" y="84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06" y="84"/>
                  </a:lnTo>
                  <a:lnTo>
                    <a:pt x="178" y="124"/>
                  </a:lnTo>
                  <a:lnTo>
                    <a:pt x="160" y="153"/>
                  </a:lnTo>
                  <a:lnTo>
                    <a:pt x="89" y="113"/>
                  </a:lnTo>
                  <a:lnTo>
                    <a:pt x="89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19944F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922EEC30-6E29-4C5E-BAB7-8A593A6B1DAB}"/>
              </a:ext>
            </a:extLst>
          </p:cNvPr>
          <p:cNvSpPr txBox="1"/>
          <p:nvPr/>
        </p:nvSpPr>
        <p:spPr>
          <a:xfrm>
            <a:off x="995363" y="3573016"/>
            <a:ext cx="2523317" cy="203314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b="1" dirty="0">
                <a:solidFill>
                  <a:srgbClr val="19944F"/>
                </a:solidFill>
              </a:rPr>
              <a:t>kommunikativ</a:t>
            </a:r>
            <a:endParaRPr lang="de-DE" sz="1600" b="1" dirty="0">
              <a:solidFill>
                <a:srgbClr val="19944F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de-DE" sz="1600" dirty="0">
                <a:solidFill>
                  <a:srgbClr val="19944F"/>
                </a:solidFill>
              </a:rPr>
              <a:t>Im Business wie auch in persönlichen Beziehungen ist gute Kommunikation das A und O für ein effektives Miteinander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B22F8A1-C1E9-4A92-984B-5B981866ACC3}"/>
              </a:ext>
            </a:extLst>
          </p:cNvPr>
          <p:cNvSpPr txBox="1"/>
          <p:nvPr/>
        </p:nvSpPr>
        <p:spPr>
          <a:xfrm>
            <a:off x="3552886" y="3573016"/>
            <a:ext cx="2523317" cy="203314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b="1" dirty="0">
                <a:solidFill>
                  <a:srgbClr val="19944F"/>
                </a:solidFill>
              </a:rPr>
              <a:t>interaktiv</a:t>
            </a:r>
            <a:endParaRPr lang="de-DE" sz="1600" b="1" dirty="0">
              <a:solidFill>
                <a:srgbClr val="19944F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de-DE" sz="1600" dirty="0">
                <a:solidFill>
                  <a:srgbClr val="19944F"/>
                </a:solidFill>
              </a:rPr>
              <a:t>Damit der persönliche Austausch neben der Arbeit nicht zu kurz kommt, ist Interaktion unter Kollegen essenziel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0FF60D7-D805-4A1B-AF0A-327F8544642E}"/>
              </a:ext>
            </a:extLst>
          </p:cNvPr>
          <p:cNvSpPr txBox="1"/>
          <p:nvPr/>
        </p:nvSpPr>
        <p:spPr>
          <a:xfrm>
            <a:off x="6110409" y="3573016"/>
            <a:ext cx="2523317" cy="203314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b="1" dirty="0">
                <a:solidFill>
                  <a:srgbClr val="19944F"/>
                </a:solidFill>
              </a:rPr>
              <a:t>freundschaftlich</a:t>
            </a:r>
            <a:endParaRPr lang="de-DE" sz="1600" b="1" dirty="0">
              <a:solidFill>
                <a:srgbClr val="19944F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de-DE" sz="1600" dirty="0">
                <a:solidFill>
                  <a:srgbClr val="19944F"/>
                </a:solidFill>
              </a:rPr>
              <a:t>Besonders in Zeiten von sozialer Isolation brauchen bestehende Freundschaften mehr Aufmerksamkei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6398E91-9BB8-4EF6-A805-51590A1B2E97}"/>
              </a:ext>
            </a:extLst>
          </p:cNvPr>
          <p:cNvSpPr txBox="1"/>
          <p:nvPr/>
        </p:nvSpPr>
        <p:spPr>
          <a:xfrm>
            <a:off x="8667931" y="3573016"/>
            <a:ext cx="2523317" cy="203314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b="1" dirty="0">
                <a:solidFill>
                  <a:srgbClr val="19944F"/>
                </a:solidFill>
              </a:rPr>
              <a:t>offen</a:t>
            </a:r>
            <a:endParaRPr lang="de-DE" sz="1600" b="1" dirty="0">
              <a:solidFill>
                <a:srgbClr val="19944F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de-DE" sz="1600" dirty="0">
                <a:solidFill>
                  <a:srgbClr val="19944F"/>
                </a:solidFill>
              </a:rPr>
              <a:t>Zufällige Begegnungen und neu entdeckte Gemeinsamkeiten können auch online passieren</a:t>
            </a:r>
          </a:p>
        </p:txBody>
      </p:sp>
    </p:spTree>
    <p:extLst>
      <p:ext uri="{BB962C8B-B14F-4D97-AF65-F5344CB8AC3E}">
        <p14:creationId xmlns:p14="http://schemas.microsoft.com/office/powerpoint/2010/main" val="2196738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8" grpId="0"/>
      <p:bldP spid="19" grpId="0"/>
      <p:bldP spid="20" grpId="0"/>
      <p:bldP spid="2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51C6DE-AFD6-4608-B65D-CA78B0777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Unternehmen von communify.io profitieren:</a:t>
            </a:r>
            <a:br>
              <a:rPr lang="de-DE" dirty="0"/>
            </a:br>
            <a:r>
              <a:rPr lang="de-DE" dirty="0"/>
              <a:t>Tuckman‘s Modell zur Team- &amp; Gruppenentwicklung (1965)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36D7073-A027-43E6-A5D6-7C08DD25EDB6}"/>
              </a:ext>
            </a:extLst>
          </p:cNvPr>
          <p:cNvGrpSpPr/>
          <p:nvPr/>
        </p:nvGrpSpPr>
        <p:grpSpPr>
          <a:xfrm>
            <a:off x="2175962" y="1824437"/>
            <a:ext cx="7840076" cy="4124843"/>
            <a:chOff x="2324373" y="1532873"/>
            <a:chExt cx="7840076" cy="4124843"/>
          </a:xfrm>
        </p:grpSpPr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CD8EDD0B-54BD-4926-97FD-8F793B1F55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38834" y="1532873"/>
              <a:ext cx="0" cy="3696327"/>
            </a:xfrm>
            <a:prstGeom prst="straightConnector1">
              <a:avLst/>
            </a:prstGeom>
            <a:ln w="38100">
              <a:solidFill>
                <a:srgbClr val="1170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7C7F0E69-DD93-4659-90C0-5DA28228BA1E}"/>
                </a:ext>
              </a:extLst>
            </p:cNvPr>
            <p:cNvCxnSpPr>
              <a:cxnSpLocks/>
            </p:cNvCxnSpPr>
            <p:nvPr/>
          </p:nvCxnSpPr>
          <p:spPr>
            <a:xfrm>
              <a:off x="2738834" y="5229200"/>
              <a:ext cx="7128792" cy="0"/>
            </a:xfrm>
            <a:prstGeom prst="straightConnector1">
              <a:avLst/>
            </a:prstGeom>
            <a:ln w="38100">
              <a:solidFill>
                <a:srgbClr val="1170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258E885-1C29-4A67-A35E-9D031A21E411}"/>
                </a:ext>
              </a:extLst>
            </p:cNvPr>
            <p:cNvSpPr txBox="1"/>
            <p:nvPr/>
          </p:nvSpPr>
          <p:spPr>
            <a:xfrm rot="16200000">
              <a:off x="1370682" y="3250745"/>
              <a:ext cx="2263889" cy="356508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b="1" dirty="0">
                  <a:solidFill>
                    <a:srgbClr val="19944F"/>
                  </a:solidFill>
                </a:rPr>
                <a:t>Effektivität des Team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E2A4866-6005-4545-8B38-E57322804523}"/>
                </a:ext>
              </a:extLst>
            </p:cNvPr>
            <p:cNvSpPr txBox="1"/>
            <p:nvPr/>
          </p:nvSpPr>
          <p:spPr>
            <a:xfrm>
              <a:off x="5366851" y="5301208"/>
              <a:ext cx="1872757" cy="356508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b="1" dirty="0">
                  <a:solidFill>
                    <a:srgbClr val="19944F"/>
                  </a:solidFill>
                </a:rPr>
                <a:t>Teamperformance</a:t>
              </a: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060ED0D-3B56-4453-B373-302AAD731292}"/>
                </a:ext>
              </a:extLst>
            </p:cNvPr>
            <p:cNvSpPr/>
            <p:nvPr/>
          </p:nvSpPr>
          <p:spPr>
            <a:xfrm>
              <a:off x="2738834" y="1844824"/>
              <a:ext cx="6892770" cy="2722671"/>
            </a:xfrm>
            <a:custGeom>
              <a:avLst/>
              <a:gdLst>
                <a:gd name="connsiteX0" fmla="*/ 0 w 6224155"/>
                <a:gd name="connsiteY0" fmla="*/ 1908277 h 2712859"/>
                <a:gd name="connsiteX1" fmla="*/ 1423555 w 6224155"/>
                <a:gd name="connsiteY1" fmla="*/ 2646031 h 2712859"/>
                <a:gd name="connsiteX2" fmla="*/ 4707082 w 6224155"/>
                <a:gd name="connsiteY2" fmla="*/ 411986 h 2712859"/>
                <a:gd name="connsiteX3" fmla="*/ 6224155 w 6224155"/>
                <a:gd name="connsiteY3" fmla="*/ 6740 h 2712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4155" h="2712859">
                  <a:moveTo>
                    <a:pt x="0" y="1908277"/>
                  </a:moveTo>
                  <a:cubicBezTo>
                    <a:pt x="319520" y="2401845"/>
                    <a:pt x="639041" y="2895413"/>
                    <a:pt x="1423555" y="2646031"/>
                  </a:cubicBezTo>
                  <a:cubicBezTo>
                    <a:pt x="2208069" y="2396649"/>
                    <a:pt x="3906982" y="851868"/>
                    <a:pt x="4707082" y="411986"/>
                  </a:cubicBezTo>
                  <a:cubicBezTo>
                    <a:pt x="5507182" y="-27896"/>
                    <a:pt x="5865668" y="-10578"/>
                    <a:pt x="6224155" y="6740"/>
                  </a:cubicBezTo>
                </a:path>
              </a:pathLst>
            </a:custGeom>
            <a:noFill/>
            <a:ln w="19050">
              <a:solidFill>
                <a:srgbClr val="11703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00ABC3E-4A27-4D73-A0FA-059E14CFBC9C}"/>
                </a:ext>
              </a:extLst>
            </p:cNvPr>
            <p:cNvSpPr txBox="1"/>
            <p:nvPr/>
          </p:nvSpPr>
          <p:spPr>
            <a:xfrm>
              <a:off x="2680881" y="3381036"/>
              <a:ext cx="1080115" cy="360040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sz="1500" dirty="0">
                  <a:solidFill>
                    <a:srgbClr val="19944F"/>
                  </a:solidFill>
                </a:rPr>
                <a:t>Forming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C478477-F68F-4DD9-A8F8-9FC3630F3D04}"/>
                </a:ext>
              </a:extLst>
            </p:cNvPr>
            <p:cNvSpPr txBox="1"/>
            <p:nvPr/>
          </p:nvSpPr>
          <p:spPr>
            <a:xfrm>
              <a:off x="3186642" y="4668058"/>
              <a:ext cx="1080115" cy="360040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sz="1500" dirty="0">
                  <a:solidFill>
                    <a:srgbClr val="19944F"/>
                  </a:solidFill>
                </a:rPr>
                <a:t>Storming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C45C2DF-E66A-48E3-B280-9AD3C288782E}"/>
                </a:ext>
              </a:extLst>
            </p:cNvPr>
            <p:cNvSpPr txBox="1"/>
            <p:nvPr/>
          </p:nvSpPr>
          <p:spPr>
            <a:xfrm>
              <a:off x="4656589" y="3381036"/>
              <a:ext cx="1080115" cy="360040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sz="1500" dirty="0">
                  <a:solidFill>
                    <a:srgbClr val="19944F"/>
                  </a:solidFill>
                </a:rPr>
                <a:t>Norming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2CFBC9D-05D0-4C1C-8D64-55247101ED95}"/>
                </a:ext>
              </a:extLst>
            </p:cNvPr>
            <p:cNvSpPr txBox="1"/>
            <p:nvPr/>
          </p:nvSpPr>
          <p:spPr>
            <a:xfrm>
              <a:off x="7248133" y="1700808"/>
              <a:ext cx="1080115" cy="360040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sz="1500" dirty="0">
                  <a:solidFill>
                    <a:srgbClr val="19944F"/>
                  </a:solidFill>
                </a:rPr>
                <a:t>Performing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F84610A-7F36-4A9B-A9BA-519FB53E0022}"/>
                </a:ext>
              </a:extLst>
            </p:cNvPr>
            <p:cNvSpPr txBox="1"/>
            <p:nvPr/>
          </p:nvSpPr>
          <p:spPr>
            <a:xfrm>
              <a:off x="9084334" y="1937014"/>
              <a:ext cx="1080115" cy="360040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sz="1500" dirty="0">
                  <a:solidFill>
                    <a:srgbClr val="19944F"/>
                  </a:solidFill>
                </a:rPr>
                <a:t>Adjourning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CBFA30F-B1CC-4EA5-BBBA-CE2E632FE2DE}"/>
              </a:ext>
            </a:extLst>
          </p:cNvPr>
          <p:cNvGrpSpPr/>
          <p:nvPr/>
        </p:nvGrpSpPr>
        <p:grpSpPr>
          <a:xfrm>
            <a:off x="9255573" y="3171223"/>
            <a:ext cx="1520930" cy="1553921"/>
            <a:chOff x="9408368" y="3171223"/>
            <a:chExt cx="1520930" cy="1553921"/>
          </a:xfrm>
        </p:grpSpPr>
        <p:grpSp>
          <p:nvGrpSpPr>
            <p:cNvPr id="43" name="Gruppieren 115">
              <a:extLst>
                <a:ext uri="{FF2B5EF4-FFF2-40B4-BE49-F238E27FC236}">
                  <a16:creationId xmlns:a16="http://schemas.microsoft.com/office/drawing/2014/main" id="{DFB16108-C252-414C-B82A-EE26896DA118}"/>
                </a:ext>
              </a:extLst>
            </p:cNvPr>
            <p:cNvGrpSpPr/>
            <p:nvPr/>
          </p:nvGrpSpPr>
          <p:grpSpPr>
            <a:xfrm>
              <a:off x="9731230" y="3959338"/>
              <a:ext cx="875206" cy="765806"/>
              <a:chOff x="239713" y="5076800"/>
              <a:chExt cx="711200" cy="622300"/>
            </a:xfrm>
            <a:solidFill>
              <a:srgbClr val="19944F"/>
            </a:solidFill>
          </p:grpSpPr>
          <p:sp>
            <p:nvSpPr>
              <p:cNvPr id="44" name="Freeform 235">
                <a:extLst>
                  <a:ext uri="{FF2B5EF4-FFF2-40B4-BE49-F238E27FC236}">
                    <a16:creationId xmlns:a16="http://schemas.microsoft.com/office/drawing/2014/main" id="{46529B87-9BE6-419D-A92D-D499ABF25B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713" y="5407000"/>
                <a:ext cx="711200" cy="292100"/>
              </a:xfrm>
              <a:custGeom>
                <a:avLst/>
                <a:gdLst/>
                <a:ahLst/>
                <a:cxnLst>
                  <a:cxn ang="0">
                    <a:pos x="3136" y="0"/>
                  </a:cxn>
                  <a:cxn ang="0">
                    <a:pos x="3136" y="168"/>
                  </a:cxn>
                  <a:cxn ang="0">
                    <a:pos x="1232" y="1289"/>
                  </a:cxn>
                  <a:cxn ang="0">
                    <a:pos x="0" y="672"/>
                  </a:cxn>
                  <a:cxn ang="0">
                    <a:pos x="0" y="504"/>
                  </a:cxn>
                  <a:cxn ang="0">
                    <a:pos x="1232" y="1120"/>
                  </a:cxn>
                  <a:cxn ang="0">
                    <a:pos x="3136" y="0"/>
                  </a:cxn>
                </a:cxnLst>
                <a:rect l="0" t="0" r="r" b="b"/>
                <a:pathLst>
                  <a:path w="3136" h="1289">
                    <a:moveTo>
                      <a:pt x="3136" y="0"/>
                    </a:moveTo>
                    <a:lnTo>
                      <a:pt x="3136" y="168"/>
                    </a:lnTo>
                    <a:lnTo>
                      <a:pt x="1232" y="1289"/>
                    </a:lnTo>
                    <a:lnTo>
                      <a:pt x="0" y="672"/>
                    </a:lnTo>
                    <a:lnTo>
                      <a:pt x="0" y="504"/>
                    </a:lnTo>
                    <a:lnTo>
                      <a:pt x="1232" y="1120"/>
                    </a:lnTo>
                    <a:lnTo>
                      <a:pt x="31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5" name="Freeform 236">
                <a:extLst>
                  <a:ext uri="{FF2B5EF4-FFF2-40B4-BE49-F238E27FC236}">
                    <a16:creationId xmlns:a16="http://schemas.microsoft.com/office/drawing/2014/main" id="{9E9E1119-FC0C-4088-8A64-0886AAC035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713" y="5076800"/>
                <a:ext cx="711200" cy="393700"/>
              </a:xfrm>
              <a:custGeom>
                <a:avLst/>
                <a:gdLst/>
                <a:ahLst/>
                <a:cxnLst>
                  <a:cxn ang="0">
                    <a:pos x="1904" y="168"/>
                  </a:cxn>
                  <a:cxn ang="0">
                    <a:pos x="309" y="1107"/>
                  </a:cxn>
                  <a:cxn ang="0">
                    <a:pos x="1232" y="1568"/>
                  </a:cxn>
                  <a:cxn ang="0">
                    <a:pos x="2827" y="630"/>
                  </a:cxn>
                  <a:cxn ang="0">
                    <a:pos x="1904" y="168"/>
                  </a:cxn>
                  <a:cxn ang="0">
                    <a:pos x="1904" y="0"/>
                  </a:cxn>
                  <a:cxn ang="0">
                    <a:pos x="3136" y="616"/>
                  </a:cxn>
                  <a:cxn ang="0">
                    <a:pos x="1232" y="1736"/>
                  </a:cxn>
                  <a:cxn ang="0">
                    <a:pos x="0" y="1120"/>
                  </a:cxn>
                  <a:cxn ang="0">
                    <a:pos x="1904" y="0"/>
                  </a:cxn>
                </a:cxnLst>
                <a:rect l="0" t="0" r="r" b="b"/>
                <a:pathLst>
                  <a:path w="3136" h="1736">
                    <a:moveTo>
                      <a:pt x="1904" y="168"/>
                    </a:moveTo>
                    <a:lnTo>
                      <a:pt x="309" y="1107"/>
                    </a:lnTo>
                    <a:lnTo>
                      <a:pt x="1232" y="1568"/>
                    </a:lnTo>
                    <a:lnTo>
                      <a:pt x="2827" y="630"/>
                    </a:lnTo>
                    <a:lnTo>
                      <a:pt x="1904" y="168"/>
                    </a:lnTo>
                    <a:close/>
                    <a:moveTo>
                      <a:pt x="1904" y="0"/>
                    </a:moveTo>
                    <a:lnTo>
                      <a:pt x="3136" y="616"/>
                    </a:lnTo>
                    <a:lnTo>
                      <a:pt x="1232" y="1736"/>
                    </a:lnTo>
                    <a:lnTo>
                      <a:pt x="0" y="1120"/>
                    </a:lnTo>
                    <a:lnTo>
                      <a:pt x="190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6" name="Freeform 237">
                <a:extLst>
                  <a:ext uri="{FF2B5EF4-FFF2-40B4-BE49-F238E27FC236}">
                    <a16:creationId xmlns:a16="http://schemas.microsoft.com/office/drawing/2014/main" id="{BFF7849B-5640-4D96-97D0-3F7125AC90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713" y="5330800"/>
                <a:ext cx="711200" cy="292100"/>
              </a:xfrm>
              <a:custGeom>
                <a:avLst/>
                <a:gdLst/>
                <a:ahLst/>
                <a:cxnLst>
                  <a:cxn ang="0">
                    <a:pos x="3136" y="0"/>
                  </a:cxn>
                  <a:cxn ang="0">
                    <a:pos x="3136" y="168"/>
                  </a:cxn>
                  <a:cxn ang="0">
                    <a:pos x="1232" y="1288"/>
                  </a:cxn>
                  <a:cxn ang="0">
                    <a:pos x="0" y="672"/>
                  </a:cxn>
                  <a:cxn ang="0">
                    <a:pos x="0" y="504"/>
                  </a:cxn>
                  <a:cxn ang="0">
                    <a:pos x="1232" y="1120"/>
                  </a:cxn>
                  <a:cxn ang="0">
                    <a:pos x="3136" y="0"/>
                  </a:cxn>
                </a:cxnLst>
                <a:rect l="0" t="0" r="r" b="b"/>
                <a:pathLst>
                  <a:path w="3136" h="1288">
                    <a:moveTo>
                      <a:pt x="3136" y="0"/>
                    </a:moveTo>
                    <a:lnTo>
                      <a:pt x="3136" y="168"/>
                    </a:lnTo>
                    <a:lnTo>
                      <a:pt x="1232" y="1288"/>
                    </a:lnTo>
                    <a:lnTo>
                      <a:pt x="0" y="672"/>
                    </a:lnTo>
                    <a:lnTo>
                      <a:pt x="0" y="504"/>
                    </a:lnTo>
                    <a:lnTo>
                      <a:pt x="1232" y="1120"/>
                    </a:lnTo>
                    <a:lnTo>
                      <a:pt x="31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7" name="Freeform 238">
                <a:extLst>
                  <a:ext uri="{FF2B5EF4-FFF2-40B4-BE49-F238E27FC236}">
                    <a16:creationId xmlns:a16="http://schemas.microsoft.com/office/drawing/2014/main" id="{AAE9B62E-B5CC-4BCE-92D7-5A2BA9644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713" y="5254600"/>
                <a:ext cx="711200" cy="292100"/>
              </a:xfrm>
              <a:custGeom>
                <a:avLst/>
                <a:gdLst/>
                <a:ahLst/>
                <a:cxnLst>
                  <a:cxn ang="0">
                    <a:pos x="3136" y="0"/>
                  </a:cxn>
                  <a:cxn ang="0">
                    <a:pos x="3136" y="167"/>
                  </a:cxn>
                  <a:cxn ang="0">
                    <a:pos x="1232" y="1288"/>
                  </a:cxn>
                  <a:cxn ang="0">
                    <a:pos x="0" y="672"/>
                  </a:cxn>
                  <a:cxn ang="0">
                    <a:pos x="0" y="504"/>
                  </a:cxn>
                  <a:cxn ang="0">
                    <a:pos x="1232" y="1120"/>
                  </a:cxn>
                  <a:cxn ang="0">
                    <a:pos x="3136" y="0"/>
                  </a:cxn>
                </a:cxnLst>
                <a:rect l="0" t="0" r="r" b="b"/>
                <a:pathLst>
                  <a:path w="3136" h="1288">
                    <a:moveTo>
                      <a:pt x="3136" y="0"/>
                    </a:moveTo>
                    <a:lnTo>
                      <a:pt x="3136" y="167"/>
                    </a:lnTo>
                    <a:lnTo>
                      <a:pt x="1232" y="1288"/>
                    </a:lnTo>
                    <a:lnTo>
                      <a:pt x="0" y="672"/>
                    </a:lnTo>
                    <a:lnTo>
                      <a:pt x="0" y="504"/>
                    </a:lnTo>
                    <a:lnTo>
                      <a:pt x="1232" y="1120"/>
                    </a:lnTo>
                    <a:lnTo>
                      <a:pt x="31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8" name="Freeform 239">
                <a:extLst>
                  <a:ext uri="{FF2B5EF4-FFF2-40B4-BE49-F238E27FC236}">
                    <a16:creationId xmlns:a16="http://schemas.microsoft.com/office/drawing/2014/main" id="{B181B639-F9D8-4075-AFFC-D4A9E61B9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013" y="5200625"/>
                <a:ext cx="228600" cy="142875"/>
              </a:xfrm>
              <a:custGeom>
                <a:avLst/>
                <a:gdLst/>
                <a:ahLst/>
                <a:cxnLst>
                  <a:cxn ang="0">
                    <a:pos x="500" y="0"/>
                  </a:cxn>
                  <a:cxn ang="0">
                    <a:pos x="556" y="3"/>
                  </a:cxn>
                  <a:cxn ang="0">
                    <a:pos x="612" y="10"/>
                  </a:cxn>
                  <a:cxn ang="0">
                    <a:pos x="665" y="21"/>
                  </a:cxn>
                  <a:cxn ang="0">
                    <a:pos x="716" y="35"/>
                  </a:cxn>
                  <a:cxn ang="0">
                    <a:pos x="765" y="53"/>
                  </a:cxn>
                  <a:cxn ang="0">
                    <a:pos x="810" y="73"/>
                  </a:cxn>
                  <a:cxn ang="0">
                    <a:pos x="853" y="97"/>
                  </a:cxn>
                  <a:cxn ang="0">
                    <a:pos x="891" y="124"/>
                  </a:cxn>
                  <a:cxn ang="0">
                    <a:pos x="924" y="153"/>
                  </a:cxn>
                  <a:cxn ang="0">
                    <a:pos x="953" y="184"/>
                  </a:cxn>
                  <a:cxn ang="0">
                    <a:pos x="975" y="218"/>
                  </a:cxn>
                  <a:cxn ang="0">
                    <a:pos x="993" y="254"/>
                  </a:cxn>
                  <a:cxn ang="0">
                    <a:pos x="1005" y="293"/>
                  </a:cxn>
                  <a:cxn ang="0">
                    <a:pos x="1008" y="332"/>
                  </a:cxn>
                  <a:cxn ang="0">
                    <a:pos x="1004" y="369"/>
                  </a:cxn>
                  <a:cxn ang="0">
                    <a:pos x="992" y="406"/>
                  </a:cxn>
                  <a:cxn ang="0">
                    <a:pos x="974" y="440"/>
                  </a:cxn>
                  <a:cxn ang="0">
                    <a:pos x="949" y="473"/>
                  </a:cxn>
                  <a:cxn ang="0">
                    <a:pos x="919" y="505"/>
                  </a:cxn>
                  <a:cxn ang="0">
                    <a:pos x="882" y="532"/>
                  </a:cxn>
                  <a:cxn ang="0">
                    <a:pos x="840" y="558"/>
                  </a:cxn>
                  <a:cxn ang="0">
                    <a:pos x="793" y="579"/>
                  </a:cxn>
                  <a:cxn ang="0">
                    <a:pos x="741" y="597"/>
                  </a:cxn>
                  <a:cxn ang="0">
                    <a:pos x="684" y="611"/>
                  </a:cxn>
                  <a:cxn ang="0">
                    <a:pos x="624" y="621"/>
                  </a:cxn>
                  <a:cxn ang="0">
                    <a:pos x="566" y="626"/>
                  </a:cxn>
                  <a:cxn ang="0">
                    <a:pos x="508" y="627"/>
                  </a:cxn>
                  <a:cxn ang="0">
                    <a:pos x="452" y="623"/>
                  </a:cxn>
                  <a:cxn ang="0">
                    <a:pos x="397" y="616"/>
                  </a:cxn>
                  <a:cxn ang="0">
                    <a:pos x="342" y="606"/>
                  </a:cxn>
                  <a:cxn ang="0">
                    <a:pos x="291" y="590"/>
                  </a:cxn>
                  <a:cxn ang="0">
                    <a:pos x="242" y="573"/>
                  </a:cxn>
                  <a:cxn ang="0">
                    <a:pos x="197" y="552"/>
                  </a:cxn>
                  <a:cxn ang="0">
                    <a:pos x="154" y="528"/>
                  </a:cxn>
                  <a:cxn ang="0">
                    <a:pos x="116" y="502"/>
                  </a:cxn>
                  <a:cxn ang="0">
                    <a:pos x="84" y="473"/>
                  </a:cxn>
                  <a:cxn ang="0">
                    <a:pos x="54" y="442"/>
                  </a:cxn>
                  <a:cxn ang="0">
                    <a:pos x="32" y="408"/>
                  </a:cxn>
                  <a:cxn ang="0">
                    <a:pos x="14" y="372"/>
                  </a:cxn>
                  <a:cxn ang="0">
                    <a:pos x="3" y="333"/>
                  </a:cxn>
                  <a:cxn ang="0">
                    <a:pos x="0" y="295"/>
                  </a:cxn>
                  <a:cxn ang="0">
                    <a:pos x="4" y="257"/>
                  </a:cxn>
                  <a:cxn ang="0">
                    <a:pos x="15" y="220"/>
                  </a:cxn>
                  <a:cxn ang="0">
                    <a:pos x="34" y="185"/>
                  </a:cxn>
                  <a:cxn ang="0">
                    <a:pos x="58" y="153"/>
                  </a:cxn>
                  <a:cxn ang="0">
                    <a:pos x="89" y="122"/>
                  </a:cxn>
                  <a:cxn ang="0">
                    <a:pos x="126" y="94"/>
                  </a:cxn>
                  <a:cxn ang="0">
                    <a:pos x="167" y="69"/>
                  </a:cxn>
                  <a:cxn ang="0">
                    <a:pos x="215" y="47"/>
                  </a:cxn>
                  <a:cxn ang="0">
                    <a:pos x="267" y="29"/>
                  </a:cxn>
                  <a:cxn ang="0">
                    <a:pos x="324" y="15"/>
                  </a:cxn>
                  <a:cxn ang="0">
                    <a:pos x="384" y="5"/>
                  </a:cxn>
                  <a:cxn ang="0">
                    <a:pos x="442" y="0"/>
                  </a:cxn>
                  <a:cxn ang="0">
                    <a:pos x="500" y="0"/>
                  </a:cxn>
                </a:cxnLst>
                <a:rect l="0" t="0" r="r" b="b"/>
                <a:pathLst>
                  <a:path w="1008" h="627">
                    <a:moveTo>
                      <a:pt x="500" y="0"/>
                    </a:moveTo>
                    <a:lnTo>
                      <a:pt x="556" y="3"/>
                    </a:lnTo>
                    <a:lnTo>
                      <a:pt x="612" y="10"/>
                    </a:lnTo>
                    <a:lnTo>
                      <a:pt x="665" y="21"/>
                    </a:lnTo>
                    <a:lnTo>
                      <a:pt x="716" y="35"/>
                    </a:lnTo>
                    <a:lnTo>
                      <a:pt x="765" y="53"/>
                    </a:lnTo>
                    <a:lnTo>
                      <a:pt x="810" y="73"/>
                    </a:lnTo>
                    <a:lnTo>
                      <a:pt x="853" y="97"/>
                    </a:lnTo>
                    <a:lnTo>
                      <a:pt x="891" y="124"/>
                    </a:lnTo>
                    <a:lnTo>
                      <a:pt x="924" y="153"/>
                    </a:lnTo>
                    <a:lnTo>
                      <a:pt x="953" y="184"/>
                    </a:lnTo>
                    <a:lnTo>
                      <a:pt x="975" y="218"/>
                    </a:lnTo>
                    <a:lnTo>
                      <a:pt x="993" y="254"/>
                    </a:lnTo>
                    <a:lnTo>
                      <a:pt x="1005" y="293"/>
                    </a:lnTo>
                    <a:lnTo>
                      <a:pt x="1008" y="332"/>
                    </a:lnTo>
                    <a:lnTo>
                      <a:pt x="1004" y="369"/>
                    </a:lnTo>
                    <a:lnTo>
                      <a:pt x="992" y="406"/>
                    </a:lnTo>
                    <a:lnTo>
                      <a:pt x="974" y="440"/>
                    </a:lnTo>
                    <a:lnTo>
                      <a:pt x="949" y="473"/>
                    </a:lnTo>
                    <a:lnTo>
                      <a:pt x="919" y="505"/>
                    </a:lnTo>
                    <a:lnTo>
                      <a:pt x="882" y="532"/>
                    </a:lnTo>
                    <a:lnTo>
                      <a:pt x="840" y="558"/>
                    </a:lnTo>
                    <a:lnTo>
                      <a:pt x="793" y="579"/>
                    </a:lnTo>
                    <a:lnTo>
                      <a:pt x="741" y="597"/>
                    </a:lnTo>
                    <a:lnTo>
                      <a:pt x="684" y="611"/>
                    </a:lnTo>
                    <a:lnTo>
                      <a:pt x="624" y="621"/>
                    </a:lnTo>
                    <a:lnTo>
                      <a:pt x="566" y="626"/>
                    </a:lnTo>
                    <a:lnTo>
                      <a:pt x="508" y="627"/>
                    </a:lnTo>
                    <a:lnTo>
                      <a:pt x="452" y="623"/>
                    </a:lnTo>
                    <a:lnTo>
                      <a:pt x="397" y="616"/>
                    </a:lnTo>
                    <a:lnTo>
                      <a:pt x="342" y="606"/>
                    </a:lnTo>
                    <a:lnTo>
                      <a:pt x="291" y="590"/>
                    </a:lnTo>
                    <a:lnTo>
                      <a:pt x="242" y="573"/>
                    </a:lnTo>
                    <a:lnTo>
                      <a:pt x="197" y="552"/>
                    </a:lnTo>
                    <a:lnTo>
                      <a:pt x="154" y="528"/>
                    </a:lnTo>
                    <a:lnTo>
                      <a:pt x="116" y="502"/>
                    </a:lnTo>
                    <a:lnTo>
                      <a:pt x="84" y="473"/>
                    </a:lnTo>
                    <a:lnTo>
                      <a:pt x="54" y="442"/>
                    </a:lnTo>
                    <a:lnTo>
                      <a:pt x="32" y="408"/>
                    </a:lnTo>
                    <a:lnTo>
                      <a:pt x="14" y="372"/>
                    </a:lnTo>
                    <a:lnTo>
                      <a:pt x="3" y="333"/>
                    </a:lnTo>
                    <a:lnTo>
                      <a:pt x="0" y="295"/>
                    </a:lnTo>
                    <a:lnTo>
                      <a:pt x="4" y="257"/>
                    </a:lnTo>
                    <a:lnTo>
                      <a:pt x="15" y="220"/>
                    </a:lnTo>
                    <a:lnTo>
                      <a:pt x="34" y="185"/>
                    </a:lnTo>
                    <a:lnTo>
                      <a:pt x="58" y="153"/>
                    </a:lnTo>
                    <a:lnTo>
                      <a:pt x="89" y="122"/>
                    </a:lnTo>
                    <a:lnTo>
                      <a:pt x="126" y="94"/>
                    </a:lnTo>
                    <a:lnTo>
                      <a:pt x="167" y="69"/>
                    </a:lnTo>
                    <a:lnTo>
                      <a:pt x="215" y="47"/>
                    </a:lnTo>
                    <a:lnTo>
                      <a:pt x="267" y="29"/>
                    </a:lnTo>
                    <a:lnTo>
                      <a:pt x="324" y="15"/>
                    </a:lnTo>
                    <a:lnTo>
                      <a:pt x="384" y="5"/>
                    </a:lnTo>
                    <a:lnTo>
                      <a:pt x="442" y="0"/>
                    </a:lnTo>
                    <a:lnTo>
                      <a:pt x="50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796E8AD-A9ED-4ED4-8204-B91C79F0DDB1}"/>
                </a:ext>
              </a:extLst>
            </p:cNvPr>
            <p:cNvSpPr txBox="1"/>
            <p:nvPr/>
          </p:nvSpPr>
          <p:spPr>
            <a:xfrm>
              <a:off x="9408368" y="3171223"/>
              <a:ext cx="1520930" cy="741229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b="1" dirty="0">
                  <a:solidFill>
                    <a:srgbClr val="19944F"/>
                  </a:solidFill>
                </a:rPr>
                <a:t>Performance</a:t>
              </a:r>
            </a:p>
            <a:p>
              <a:pPr algn="ctr">
                <a:spcAft>
                  <a:spcPts val="600"/>
                </a:spcAft>
              </a:pPr>
              <a:r>
                <a:rPr lang="de-DE" b="1" dirty="0">
                  <a:solidFill>
                    <a:srgbClr val="19944F"/>
                  </a:solidFill>
                </a:rPr>
                <a:t>=</a:t>
              </a:r>
            </a:p>
          </p:txBody>
        </p:sp>
      </p:grpSp>
      <p:sp>
        <p:nvSpPr>
          <p:cNvPr id="51" name="Arrow: Up 50">
            <a:extLst>
              <a:ext uri="{FF2B5EF4-FFF2-40B4-BE49-F238E27FC236}">
                <a16:creationId xmlns:a16="http://schemas.microsoft.com/office/drawing/2014/main" id="{643E38A6-D87C-4DED-88CF-6FBCC9A3F92A}"/>
              </a:ext>
            </a:extLst>
          </p:cNvPr>
          <p:cNvSpPr/>
          <p:nvPr/>
        </p:nvSpPr>
        <p:spPr>
          <a:xfrm>
            <a:off x="10776503" y="3199146"/>
            <a:ext cx="288049" cy="316917"/>
          </a:xfrm>
          <a:prstGeom prst="upArrow">
            <a:avLst/>
          </a:prstGeom>
          <a:solidFill>
            <a:srgbClr val="20B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de-DE" sz="1500" dirty="0" err="1">
              <a:solidFill>
                <a:schemeClr val="bg1"/>
              </a:solidFill>
            </a:endParaRPr>
          </a:p>
        </p:txBody>
      </p:sp>
      <p:sp>
        <p:nvSpPr>
          <p:cNvPr id="52" name="Arrow: Up 51">
            <a:extLst>
              <a:ext uri="{FF2B5EF4-FFF2-40B4-BE49-F238E27FC236}">
                <a16:creationId xmlns:a16="http://schemas.microsoft.com/office/drawing/2014/main" id="{B1C55917-8A03-4264-8EE6-E697378D8D6B}"/>
              </a:ext>
            </a:extLst>
          </p:cNvPr>
          <p:cNvSpPr/>
          <p:nvPr/>
        </p:nvSpPr>
        <p:spPr>
          <a:xfrm>
            <a:off x="10776503" y="4113453"/>
            <a:ext cx="288049" cy="316917"/>
          </a:xfrm>
          <a:prstGeom prst="upArrow">
            <a:avLst/>
          </a:prstGeom>
          <a:solidFill>
            <a:srgbClr val="20B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de-DE" sz="15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990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33333E-6 L -0.09453 0.00393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727" y="1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000"/>
                            </p:stCondLst>
                            <p:childTnLst>
                              <p:par>
                                <p:cTn id="1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76A0D84-4B62-47AE-A586-3C9C45EBB41E}"/>
              </a:ext>
            </a:extLst>
          </p:cNvPr>
          <p:cNvSpPr/>
          <p:nvPr/>
        </p:nvSpPr>
        <p:spPr>
          <a:xfrm>
            <a:off x="-456728" y="-603448"/>
            <a:ext cx="13249472" cy="7920880"/>
          </a:xfrm>
          <a:prstGeom prst="rect">
            <a:avLst/>
          </a:prstGeom>
          <a:solidFill>
            <a:srgbClr val="20B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de-DE" sz="1500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9DF67-1AE8-48F1-BE36-7241CC6A2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400" y="1700808"/>
            <a:ext cx="10195200" cy="533400"/>
          </a:xfrm>
        </p:spPr>
        <p:txBody>
          <a:bodyPr/>
          <a:lstStyle/>
          <a:p>
            <a:pPr algn="ctr"/>
            <a:r>
              <a:rPr lang="de-DE" sz="2800" dirty="0">
                <a:solidFill>
                  <a:schemeClr val="bg1"/>
                </a:solidFill>
              </a:rPr>
              <a:t>Weil 1 Prototyp mehr als 1000 Slides sagt.</a:t>
            </a:r>
          </a:p>
        </p:txBody>
      </p:sp>
      <p:grpSp>
        <p:nvGrpSpPr>
          <p:cNvPr id="5" name="Gruppieren 67">
            <a:extLst>
              <a:ext uri="{FF2B5EF4-FFF2-40B4-BE49-F238E27FC236}">
                <a16:creationId xmlns:a16="http://schemas.microsoft.com/office/drawing/2014/main" id="{F7BC2314-781D-4359-B264-094FB2076C47}"/>
              </a:ext>
            </a:extLst>
          </p:cNvPr>
          <p:cNvGrpSpPr/>
          <p:nvPr/>
        </p:nvGrpSpPr>
        <p:grpSpPr>
          <a:xfrm>
            <a:off x="4871864" y="2778048"/>
            <a:ext cx="2448272" cy="2742064"/>
            <a:chOff x="1565275" y="3840163"/>
            <a:chExt cx="635000" cy="711200"/>
          </a:xfrm>
          <a:solidFill>
            <a:schemeClr val="bg1"/>
          </a:solidFill>
        </p:grpSpPr>
        <p:sp>
          <p:nvSpPr>
            <p:cNvPr id="6" name="Freeform 171">
              <a:extLst>
                <a:ext uri="{FF2B5EF4-FFF2-40B4-BE49-F238E27FC236}">
                  <a16:creationId xmlns:a16="http://schemas.microsoft.com/office/drawing/2014/main" id="{C43331D3-F8FB-4BA3-A142-AB779714F0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5275" y="3840163"/>
              <a:ext cx="533400" cy="711200"/>
            </a:xfrm>
            <a:custGeom>
              <a:avLst/>
              <a:gdLst/>
              <a:ahLst/>
              <a:cxnLst>
                <a:cxn ang="0">
                  <a:pos x="1150" y="2803"/>
                </a:cxn>
                <a:cxn ang="0">
                  <a:pos x="1106" y="2825"/>
                </a:cxn>
                <a:cxn ang="0">
                  <a:pos x="1075" y="2863"/>
                </a:cxn>
                <a:cxn ang="0">
                  <a:pos x="1064" y="2913"/>
                </a:cxn>
                <a:cxn ang="0">
                  <a:pos x="1075" y="2961"/>
                </a:cxn>
                <a:cxn ang="0">
                  <a:pos x="1106" y="2999"/>
                </a:cxn>
                <a:cxn ang="0">
                  <a:pos x="1150" y="3021"/>
                </a:cxn>
                <a:cxn ang="0">
                  <a:pos x="1201" y="3021"/>
                </a:cxn>
                <a:cxn ang="0">
                  <a:pos x="1246" y="2999"/>
                </a:cxn>
                <a:cxn ang="0">
                  <a:pos x="1276" y="2961"/>
                </a:cxn>
                <a:cxn ang="0">
                  <a:pos x="1288" y="2913"/>
                </a:cxn>
                <a:cxn ang="0">
                  <a:pos x="1276" y="2863"/>
                </a:cxn>
                <a:cxn ang="0">
                  <a:pos x="1246" y="2825"/>
                </a:cxn>
                <a:cxn ang="0">
                  <a:pos x="1201" y="2803"/>
                </a:cxn>
                <a:cxn ang="0">
                  <a:pos x="280" y="0"/>
                </a:cxn>
                <a:cxn ang="0">
                  <a:pos x="2114" y="3"/>
                </a:cxn>
                <a:cxn ang="0">
                  <a:pos x="2190" y="26"/>
                </a:cxn>
                <a:cxn ang="0">
                  <a:pos x="2256" y="68"/>
                </a:cxn>
                <a:cxn ang="0">
                  <a:pos x="2307" y="128"/>
                </a:cxn>
                <a:cxn ang="0">
                  <a:pos x="2341" y="200"/>
                </a:cxn>
                <a:cxn ang="0">
                  <a:pos x="2352" y="280"/>
                </a:cxn>
                <a:cxn ang="0">
                  <a:pos x="2128" y="1232"/>
                </a:cxn>
                <a:cxn ang="0">
                  <a:pos x="224" y="280"/>
                </a:cxn>
                <a:cxn ang="0">
                  <a:pos x="1680" y="2688"/>
                </a:cxn>
                <a:cxn ang="0">
                  <a:pos x="1682" y="3054"/>
                </a:cxn>
                <a:cxn ang="0">
                  <a:pos x="1699" y="3110"/>
                </a:cxn>
                <a:cxn ang="0">
                  <a:pos x="280" y="3136"/>
                </a:cxn>
                <a:cxn ang="0">
                  <a:pos x="199" y="3124"/>
                </a:cxn>
                <a:cxn ang="0">
                  <a:pos x="127" y="3091"/>
                </a:cxn>
                <a:cxn ang="0">
                  <a:pos x="68" y="3040"/>
                </a:cxn>
                <a:cxn ang="0">
                  <a:pos x="26" y="2974"/>
                </a:cxn>
                <a:cxn ang="0">
                  <a:pos x="3" y="2897"/>
                </a:cxn>
                <a:cxn ang="0">
                  <a:pos x="0" y="280"/>
                </a:cxn>
                <a:cxn ang="0">
                  <a:pos x="12" y="200"/>
                </a:cxn>
                <a:cxn ang="0">
                  <a:pos x="45" y="128"/>
                </a:cxn>
                <a:cxn ang="0">
                  <a:pos x="97" y="68"/>
                </a:cxn>
                <a:cxn ang="0">
                  <a:pos x="162" y="26"/>
                </a:cxn>
                <a:cxn ang="0">
                  <a:pos x="239" y="3"/>
                </a:cxn>
              </a:cxnLst>
              <a:rect l="0" t="0" r="r" b="b"/>
              <a:pathLst>
                <a:path w="2352" h="3136">
                  <a:moveTo>
                    <a:pt x="1176" y="2800"/>
                  </a:moveTo>
                  <a:lnTo>
                    <a:pt x="1150" y="2803"/>
                  </a:lnTo>
                  <a:lnTo>
                    <a:pt x="1126" y="2812"/>
                  </a:lnTo>
                  <a:lnTo>
                    <a:pt x="1106" y="2825"/>
                  </a:lnTo>
                  <a:lnTo>
                    <a:pt x="1088" y="2842"/>
                  </a:lnTo>
                  <a:lnTo>
                    <a:pt x="1075" y="2863"/>
                  </a:lnTo>
                  <a:lnTo>
                    <a:pt x="1067" y="2886"/>
                  </a:lnTo>
                  <a:lnTo>
                    <a:pt x="1064" y="2913"/>
                  </a:lnTo>
                  <a:lnTo>
                    <a:pt x="1067" y="2938"/>
                  </a:lnTo>
                  <a:lnTo>
                    <a:pt x="1075" y="2961"/>
                  </a:lnTo>
                  <a:lnTo>
                    <a:pt x="1088" y="2982"/>
                  </a:lnTo>
                  <a:lnTo>
                    <a:pt x="1106" y="2999"/>
                  </a:lnTo>
                  <a:lnTo>
                    <a:pt x="1126" y="3012"/>
                  </a:lnTo>
                  <a:lnTo>
                    <a:pt x="1150" y="3021"/>
                  </a:lnTo>
                  <a:lnTo>
                    <a:pt x="1176" y="3024"/>
                  </a:lnTo>
                  <a:lnTo>
                    <a:pt x="1201" y="3021"/>
                  </a:lnTo>
                  <a:lnTo>
                    <a:pt x="1225" y="3012"/>
                  </a:lnTo>
                  <a:lnTo>
                    <a:pt x="1246" y="2999"/>
                  </a:lnTo>
                  <a:lnTo>
                    <a:pt x="1263" y="2982"/>
                  </a:lnTo>
                  <a:lnTo>
                    <a:pt x="1276" y="2961"/>
                  </a:lnTo>
                  <a:lnTo>
                    <a:pt x="1285" y="2938"/>
                  </a:lnTo>
                  <a:lnTo>
                    <a:pt x="1288" y="2913"/>
                  </a:lnTo>
                  <a:lnTo>
                    <a:pt x="1285" y="2886"/>
                  </a:lnTo>
                  <a:lnTo>
                    <a:pt x="1276" y="2863"/>
                  </a:lnTo>
                  <a:lnTo>
                    <a:pt x="1263" y="2842"/>
                  </a:lnTo>
                  <a:lnTo>
                    <a:pt x="1246" y="2825"/>
                  </a:lnTo>
                  <a:lnTo>
                    <a:pt x="1225" y="2812"/>
                  </a:lnTo>
                  <a:lnTo>
                    <a:pt x="1201" y="2803"/>
                  </a:lnTo>
                  <a:lnTo>
                    <a:pt x="1176" y="2800"/>
                  </a:lnTo>
                  <a:close/>
                  <a:moveTo>
                    <a:pt x="280" y="0"/>
                  </a:moveTo>
                  <a:lnTo>
                    <a:pt x="2072" y="0"/>
                  </a:lnTo>
                  <a:lnTo>
                    <a:pt x="2114" y="3"/>
                  </a:lnTo>
                  <a:lnTo>
                    <a:pt x="2153" y="12"/>
                  </a:lnTo>
                  <a:lnTo>
                    <a:pt x="2190" y="26"/>
                  </a:lnTo>
                  <a:lnTo>
                    <a:pt x="2224" y="45"/>
                  </a:lnTo>
                  <a:lnTo>
                    <a:pt x="2256" y="68"/>
                  </a:lnTo>
                  <a:lnTo>
                    <a:pt x="2283" y="96"/>
                  </a:lnTo>
                  <a:lnTo>
                    <a:pt x="2307" y="128"/>
                  </a:lnTo>
                  <a:lnTo>
                    <a:pt x="2326" y="162"/>
                  </a:lnTo>
                  <a:lnTo>
                    <a:pt x="2341" y="200"/>
                  </a:lnTo>
                  <a:lnTo>
                    <a:pt x="2349" y="239"/>
                  </a:lnTo>
                  <a:lnTo>
                    <a:pt x="2352" y="280"/>
                  </a:lnTo>
                  <a:lnTo>
                    <a:pt x="2352" y="1232"/>
                  </a:lnTo>
                  <a:lnTo>
                    <a:pt x="2128" y="1232"/>
                  </a:lnTo>
                  <a:lnTo>
                    <a:pt x="2128" y="280"/>
                  </a:lnTo>
                  <a:lnTo>
                    <a:pt x="224" y="280"/>
                  </a:lnTo>
                  <a:lnTo>
                    <a:pt x="224" y="2688"/>
                  </a:lnTo>
                  <a:lnTo>
                    <a:pt x="1680" y="2688"/>
                  </a:lnTo>
                  <a:lnTo>
                    <a:pt x="1680" y="3024"/>
                  </a:lnTo>
                  <a:lnTo>
                    <a:pt x="1682" y="3054"/>
                  </a:lnTo>
                  <a:lnTo>
                    <a:pt x="1688" y="3083"/>
                  </a:lnTo>
                  <a:lnTo>
                    <a:pt x="1699" y="3110"/>
                  </a:lnTo>
                  <a:lnTo>
                    <a:pt x="1712" y="3136"/>
                  </a:lnTo>
                  <a:lnTo>
                    <a:pt x="280" y="3136"/>
                  </a:lnTo>
                  <a:lnTo>
                    <a:pt x="239" y="3133"/>
                  </a:lnTo>
                  <a:lnTo>
                    <a:pt x="199" y="3124"/>
                  </a:lnTo>
                  <a:lnTo>
                    <a:pt x="162" y="3110"/>
                  </a:lnTo>
                  <a:lnTo>
                    <a:pt x="127" y="3091"/>
                  </a:lnTo>
                  <a:lnTo>
                    <a:pt x="97" y="3068"/>
                  </a:lnTo>
                  <a:lnTo>
                    <a:pt x="68" y="3040"/>
                  </a:lnTo>
                  <a:lnTo>
                    <a:pt x="45" y="3008"/>
                  </a:lnTo>
                  <a:lnTo>
                    <a:pt x="26" y="2974"/>
                  </a:lnTo>
                  <a:lnTo>
                    <a:pt x="12" y="2936"/>
                  </a:lnTo>
                  <a:lnTo>
                    <a:pt x="3" y="2897"/>
                  </a:lnTo>
                  <a:lnTo>
                    <a:pt x="0" y="2856"/>
                  </a:lnTo>
                  <a:lnTo>
                    <a:pt x="0" y="280"/>
                  </a:lnTo>
                  <a:lnTo>
                    <a:pt x="3" y="239"/>
                  </a:lnTo>
                  <a:lnTo>
                    <a:pt x="12" y="200"/>
                  </a:lnTo>
                  <a:lnTo>
                    <a:pt x="26" y="162"/>
                  </a:lnTo>
                  <a:lnTo>
                    <a:pt x="45" y="128"/>
                  </a:lnTo>
                  <a:lnTo>
                    <a:pt x="68" y="96"/>
                  </a:lnTo>
                  <a:lnTo>
                    <a:pt x="97" y="68"/>
                  </a:lnTo>
                  <a:lnTo>
                    <a:pt x="127" y="45"/>
                  </a:lnTo>
                  <a:lnTo>
                    <a:pt x="162" y="26"/>
                  </a:lnTo>
                  <a:lnTo>
                    <a:pt x="199" y="12"/>
                  </a:lnTo>
                  <a:lnTo>
                    <a:pt x="239" y="3"/>
                  </a:lnTo>
                  <a:lnTo>
                    <a:pt x="28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338D"/>
                </a:solidFill>
              </a:endParaRPr>
            </a:p>
          </p:txBody>
        </p:sp>
        <p:sp>
          <p:nvSpPr>
            <p:cNvPr id="7" name="Freeform 172">
              <a:extLst>
                <a:ext uri="{FF2B5EF4-FFF2-40B4-BE49-F238E27FC236}">
                  <a16:creationId xmlns:a16="http://schemas.microsoft.com/office/drawing/2014/main" id="{725052A2-3242-479D-B042-5F277FFD7B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1675" y="4144963"/>
              <a:ext cx="228600" cy="406400"/>
            </a:xfrm>
            <a:custGeom>
              <a:avLst/>
              <a:gdLst/>
              <a:ahLst/>
              <a:cxnLst>
                <a:cxn ang="0">
                  <a:pos x="478" y="1515"/>
                </a:cxn>
                <a:cxn ang="0">
                  <a:pos x="433" y="1537"/>
                </a:cxn>
                <a:cxn ang="0">
                  <a:pos x="403" y="1575"/>
                </a:cxn>
                <a:cxn ang="0">
                  <a:pos x="392" y="1624"/>
                </a:cxn>
                <a:cxn ang="0">
                  <a:pos x="403" y="1673"/>
                </a:cxn>
                <a:cxn ang="0">
                  <a:pos x="433" y="1712"/>
                </a:cxn>
                <a:cxn ang="0">
                  <a:pos x="478" y="1733"/>
                </a:cxn>
                <a:cxn ang="0">
                  <a:pos x="530" y="1733"/>
                </a:cxn>
                <a:cxn ang="0">
                  <a:pos x="575" y="1712"/>
                </a:cxn>
                <a:cxn ang="0">
                  <a:pos x="605" y="1673"/>
                </a:cxn>
                <a:cxn ang="0">
                  <a:pos x="616" y="1624"/>
                </a:cxn>
                <a:cxn ang="0">
                  <a:pos x="605" y="1575"/>
                </a:cxn>
                <a:cxn ang="0">
                  <a:pos x="575" y="1537"/>
                </a:cxn>
                <a:cxn ang="0">
                  <a:pos x="530" y="1515"/>
                </a:cxn>
                <a:cxn ang="0">
                  <a:pos x="112" y="224"/>
                </a:cxn>
                <a:cxn ang="0">
                  <a:pos x="896" y="1456"/>
                </a:cxn>
                <a:cxn ang="0">
                  <a:pos x="112" y="224"/>
                </a:cxn>
                <a:cxn ang="0">
                  <a:pos x="392" y="168"/>
                </a:cxn>
                <a:cxn ang="0">
                  <a:pos x="616" y="112"/>
                </a:cxn>
                <a:cxn ang="0">
                  <a:pos x="112" y="0"/>
                </a:cxn>
                <a:cxn ang="0">
                  <a:pos x="922" y="2"/>
                </a:cxn>
                <a:cxn ang="0">
                  <a:pos x="966" y="24"/>
                </a:cxn>
                <a:cxn ang="0">
                  <a:pos x="997" y="63"/>
                </a:cxn>
                <a:cxn ang="0">
                  <a:pos x="1008" y="112"/>
                </a:cxn>
                <a:cxn ang="0">
                  <a:pos x="1005" y="1705"/>
                </a:cxn>
                <a:cxn ang="0">
                  <a:pos x="983" y="1750"/>
                </a:cxn>
                <a:cxn ang="0">
                  <a:pos x="945" y="1780"/>
                </a:cxn>
                <a:cxn ang="0">
                  <a:pos x="896" y="1792"/>
                </a:cxn>
                <a:cxn ang="0">
                  <a:pos x="86" y="1789"/>
                </a:cxn>
                <a:cxn ang="0">
                  <a:pos x="42" y="1767"/>
                </a:cxn>
                <a:cxn ang="0">
                  <a:pos x="11" y="1729"/>
                </a:cxn>
                <a:cxn ang="0">
                  <a:pos x="0" y="1680"/>
                </a:cxn>
                <a:cxn ang="0">
                  <a:pos x="3" y="86"/>
                </a:cxn>
                <a:cxn ang="0">
                  <a:pos x="25" y="42"/>
                </a:cxn>
                <a:cxn ang="0">
                  <a:pos x="63" y="11"/>
                </a:cxn>
                <a:cxn ang="0">
                  <a:pos x="112" y="0"/>
                </a:cxn>
              </a:cxnLst>
              <a:rect l="0" t="0" r="r" b="b"/>
              <a:pathLst>
                <a:path w="1008" h="1792">
                  <a:moveTo>
                    <a:pt x="504" y="1512"/>
                  </a:moveTo>
                  <a:lnTo>
                    <a:pt x="478" y="1515"/>
                  </a:lnTo>
                  <a:lnTo>
                    <a:pt x="455" y="1523"/>
                  </a:lnTo>
                  <a:lnTo>
                    <a:pt x="433" y="1537"/>
                  </a:lnTo>
                  <a:lnTo>
                    <a:pt x="417" y="1554"/>
                  </a:lnTo>
                  <a:lnTo>
                    <a:pt x="403" y="1575"/>
                  </a:lnTo>
                  <a:lnTo>
                    <a:pt x="395" y="1598"/>
                  </a:lnTo>
                  <a:lnTo>
                    <a:pt x="392" y="1624"/>
                  </a:lnTo>
                  <a:lnTo>
                    <a:pt x="395" y="1650"/>
                  </a:lnTo>
                  <a:lnTo>
                    <a:pt x="403" y="1673"/>
                  </a:lnTo>
                  <a:lnTo>
                    <a:pt x="417" y="1695"/>
                  </a:lnTo>
                  <a:lnTo>
                    <a:pt x="433" y="1712"/>
                  </a:lnTo>
                  <a:lnTo>
                    <a:pt x="455" y="1725"/>
                  </a:lnTo>
                  <a:lnTo>
                    <a:pt x="478" y="1733"/>
                  </a:lnTo>
                  <a:lnTo>
                    <a:pt x="504" y="1736"/>
                  </a:lnTo>
                  <a:lnTo>
                    <a:pt x="530" y="1733"/>
                  </a:lnTo>
                  <a:lnTo>
                    <a:pt x="553" y="1725"/>
                  </a:lnTo>
                  <a:lnTo>
                    <a:pt x="575" y="1712"/>
                  </a:lnTo>
                  <a:lnTo>
                    <a:pt x="591" y="1695"/>
                  </a:lnTo>
                  <a:lnTo>
                    <a:pt x="605" y="1673"/>
                  </a:lnTo>
                  <a:lnTo>
                    <a:pt x="613" y="1650"/>
                  </a:lnTo>
                  <a:lnTo>
                    <a:pt x="616" y="1624"/>
                  </a:lnTo>
                  <a:lnTo>
                    <a:pt x="613" y="1598"/>
                  </a:lnTo>
                  <a:lnTo>
                    <a:pt x="605" y="1575"/>
                  </a:lnTo>
                  <a:lnTo>
                    <a:pt x="591" y="1554"/>
                  </a:lnTo>
                  <a:lnTo>
                    <a:pt x="575" y="1537"/>
                  </a:lnTo>
                  <a:lnTo>
                    <a:pt x="553" y="1523"/>
                  </a:lnTo>
                  <a:lnTo>
                    <a:pt x="530" y="1515"/>
                  </a:lnTo>
                  <a:lnTo>
                    <a:pt x="504" y="1512"/>
                  </a:lnTo>
                  <a:close/>
                  <a:moveTo>
                    <a:pt x="112" y="224"/>
                  </a:moveTo>
                  <a:lnTo>
                    <a:pt x="112" y="1456"/>
                  </a:lnTo>
                  <a:lnTo>
                    <a:pt x="896" y="1456"/>
                  </a:lnTo>
                  <a:lnTo>
                    <a:pt x="896" y="224"/>
                  </a:lnTo>
                  <a:lnTo>
                    <a:pt x="112" y="224"/>
                  </a:lnTo>
                  <a:close/>
                  <a:moveTo>
                    <a:pt x="392" y="112"/>
                  </a:moveTo>
                  <a:lnTo>
                    <a:pt x="392" y="168"/>
                  </a:lnTo>
                  <a:lnTo>
                    <a:pt x="616" y="168"/>
                  </a:lnTo>
                  <a:lnTo>
                    <a:pt x="616" y="112"/>
                  </a:lnTo>
                  <a:lnTo>
                    <a:pt x="392" y="112"/>
                  </a:lnTo>
                  <a:close/>
                  <a:moveTo>
                    <a:pt x="112" y="0"/>
                  </a:moveTo>
                  <a:lnTo>
                    <a:pt x="896" y="0"/>
                  </a:lnTo>
                  <a:lnTo>
                    <a:pt x="922" y="2"/>
                  </a:lnTo>
                  <a:lnTo>
                    <a:pt x="945" y="11"/>
                  </a:lnTo>
                  <a:lnTo>
                    <a:pt x="966" y="24"/>
                  </a:lnTo>
                  <a:lnTo>
                    <a:pt x="983" y="42"/>
                  </a:lnTo>
                  <a:lnTo>
                    <a:pt x="997" y="63"/>
                  </a:lnTo>
                  <a:lnTo>
                    <a:pt x="1005" y="86"/>
                  </a:lnTo>
                  <a:lnTo>
                    <a:pt x="1008" y="112"/>
                  </a:lnTo>
                  <a:lnTo>
                    <a:pt x="1008" y="1680"/>
                  </a:lnTo>
                  <a:lnTo>
                    <a:pt x="1005" y="1705"/>
                  </a:lnTo>
                  <a:lnTo>
                    <a:pt x="997" y="1729"/>
                  </a:lnTo>
                  <a:lnTo>
                    <a:pt x="983" y="1750"/>
                  </a:lnTo>
                  <a:lnTo>
                    <a:pt x="966" y="1767"/>
                  </a:lnTo>
                  <a:lnTo>
                    <a:pt x="945" y="1780"/>
                  </a:lnTo>
                  <a:lnTo>
                    <a:pt x="922" y="1789"/>
                  </a:lnTo>
                  <a:lnTo>
                    <a:pt x="896" y="1792"/>
                  </a:lnTo>
                  <a:lnTo>
                    <a:pt x="112" y="1792"/>
                  </a:lnTo>
                  <a:lnTo>
                    <a:pt x="86" y="1789"/>
                  </a:lnTo>
                  <a:lnTo>
                    <a:pt x="63" y="1780"/>
                  </a:lnTo>
                  <a:lnTo>
                    <a:pt x="42" y="1767"/>
                  </a:lnTo>
                  <a:lnTo>
                    <a:pt x="25" y="1750"/>
                  </a:lnTo>
                  <a:lnTo>
                    <a:pt x="11" y="1729"/>
                  </a:lnTo>
                  <a:lnTo>
                    <a:pt x="3" y="1705"/>
                  </a:lnTo>
                  <a:lnTo>
                    <a:pt x="0" y="1680"/>
                  </a:lnTo>
                  <a:lnTo>
                    <a:pt x="0" y="112"/>
                  </a:lnTo>
                  <a:lnTo>
                    <a:pt x="3" y="86"/>
                  </a:lnTo>
                  <a:lnTo>
                    <a:pt x="11" y="63"/>
                  </a:lnTo>
                  <a:lnTo>
                    <a:pt x="25" y="42"/>
                  </a:lnTo>
                  <a:lnTo>
                    <a:pt x="42" y="24"/>
                  </a:lnTo>
                  <a:lnTo>
                    <a:pt x="63" y="11"/>
                  </a:lnTo>
                  <a:lnTo>
                    <a:pt x="86" y="2"/>
                  </a:lnTo>
                  <a:lnTo>
                    <a:pt x="1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338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7259931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BA676-9A31-4579-94E3-C9A3F229E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[Parallel MVP] Das sind unsere Feat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2C7119-B078-4EB1-8747-CDD9DDF5EC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legen von Nutzerprofil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chievements und Badg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Matching mit anderen Nutz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Challenges erstell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Chaträume anlegen und nutz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onyme Teilnahme am Ch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…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6069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405EE-53A9-4F50-ADCA-B63F5D833E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[Parallel Code Review] Das ist die Technologie dahin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D169E1-ACE9-44B3-A65A-E4BF5199FB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Unser Ansatz:</a:t>
            </a:r>
          </a:p>
          <a:p>
            <a:r>
              <a:rPr lang="de-DE" dirty="0"/>
              <a:t>Einsatz verschiedener Programmiersprachen, Kapselung der Features und zusammengeführt, MEVN</a:t>
            </a:r>
          </a:p>
          <a:p>
            <a:endParaRPr lang="de-DE" dirty="0"/>
          </a:p>
          <a:p>
            <a:r>
              <a:rPr lang="de-DE" dirty="0"/>
              <a:t>Backend: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Frontend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71377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545BF-7C4B-4EBF-8D7B-AA8360346E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Weg von einer Idee zu unserem MVP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F5D3527-ABA9-4D43-AEA6-06629AD3B544}"/>
              </a:ext>
            </a:extLst>
          </p:cNvPr>
          <p:cNvGrpSpPr/>
          <p:nvPr/>
        </p:nvGrpSpPr>
        <p:grpSpPr>
          <a:xfrm>
            <a:off x="2658614" y="1916832"/>
            <a:ext cx="2213246" cy="2278317"/>
            <a:chOff x="2658614" y="1916832"/>
            <a:chExt cx="2213246" cy="2278317"/>
          </a:xfrm>
        </p:grpSpPr>
        <p:sp>
          <p:nvSpPr>
            <p:cNvPr id="5" name="Chevron 26">
              <a:extLst>
                <a:ext uri="{FF2B5EF4-FFF2-40B4-BE49-F238E27FC236}">
                  <a16:creationId xmlns:a16="http://schemas.microsoft.com/office/drawing/2014/main" id="{BD2AB404-C10E-47EC-A7CD-004CA7322939}"/>
                </a:ext>
              </a:extLst>
            </p:cNvPr>
            <p:cNvSpPr>
              <a:spLocks/>
            </p:cNvSpPr>
            <p:nvPr/>
          </p:nvSpPr>
          <p:spPr>
            <a:xfrm>
              <a:off x="2658614" y="3164391"/>
              <a:ext cx="1997225" cy="1030758"/>
            </a:xfrm>
            <a:prstGeom prst="chevron">
              <a:avLst>
                <a:gd name="adj" fmla="val 34200"/>
              </a:avLst>
            </a:prstGeom>
            <a:solidFill>
              <a:srgbClr val="1170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en-GB" sz="1400" b="1" dirty="0" err="1">
                  <a:solidFill>
                    <a:schemeClr val="bg1"/>
                  </a:solidFill>
                </a:rPr>
                <a:t>Priorisierung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Line 28">
              <a:extLst>
                <a:ext uri="{FF2B5EF4-FFF2-40B4-BE49-F238E27FC236}">
                  <a16:creationId xmlns:a16="http://schemas.microsoft.com/office/drawing/2014/main" id="{07F65C6E-14CA-49B3-9C92-B7C8B8C9ACF4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2701710" y="1916833"/>
              <a:ext cx="0" cy="1005401"/>
            </a:xfrm>
            <a:prstGeom prst="line">
              <a:avLst/>
            </a:prstGeom>
            <a:noFill/>
            <a:ln w="19050">
              <a:solidFill>
                <a:srgbClr val="11703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292"/>
            </a:p>
          </p:txBody>
        </p:sp>
        <p:sp>
          <p:nvSpPr>
            <p:cNvPr id="25" name="Text Box 29">
              <a:extLst>
                <a:ext uri="{FF2B5EF4-FFF2-40B4-BE49-F238E27FC236}">
                  <a16:creationId xmlns:a16="http://schemas.microsoft.com/office/drawing/2014/main" id="{6CC6B952-7E87-4C07-A9D0-A0B9F941499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701709" y="1916832"/>
              <a:ext cx="2170151" cy="12222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6450" tIns="0" rIns="0" bIns="0"/>
            <a:lstStyle>
              <a:defPPr>
                <a:defRPr lang="en-US"/>
              </a:defPPr>
              <a:lvl1pPr defTabSz="740038">
                <a:spcBef>
                  <a:spcPct val="20000"/>
                </a:spcBef>
                <a:defRPr sz="1292">
                  <a:solidFill>
                    <a:srgbClr val="11703C"/>
                  </a:solidFill>
                  <a:cs typeface="Arial" charset="0"/>
                </a:defRPr>
              </a:lvl1pPr>
            </a:lstStyle>
            <a:p>
              <a:r>
                <a:rPr lang="de-DE" sz="1400" dirty="0"/>
                <a:t>Features und Aufgaben nach Relevanz und technischer Umsetzbarkeit priorisieren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0AEF19E-4E93-4EC5-A36C-7F25EAA4B738}"/>
              </a:ext>
            </a:extLst>
          </p:cNvPr>
          <p:cNvGrpSpPr/>
          <p:nvPr/>
        </p:nvGrpSpPr>
        <p:grpSpPr>
          <a:xfrm>
            <a:off x="4458812" y="3164391"/>
            <a:ext cx="2141243" cy="2375941"/>
            <a:chOff x="4458812" y="3164391"/>
            <a:chExt cx="2141243" cy="2375941"/>
          </a:xfrm>
        </p:grpSpPr>
        <p:sp>
          <p:nvSpPr>
            <p:cNvPr id="13" name="Chevron 1">
              <a:extLst>
                <a:ext uri="{FF2B5EF4-FFF2-40B4-BE49-F238E27FC236}">
                  <a16:creationId xmlns:a16="http://schemas.microsoft.com/office/drawing/2014/main" id="{076D125C-ED78-4D4D-82FA-412C26156720}"/>
                </a:ext>
              </a:extLst>
            </p:cNvPr>
            <p:cNvSpPr>
              <a:spLocks/>
            </p:cNvSpPr>
            <p:nvPr/>
          </p:nvSpPr>
          <p:spPr>
            <a:xfrm>
              <a:off x="4458812" y="3164391"/>
              <a:ext cx="1997228" cy="1030758"/>
            </a:xfrm>
            <a:prstGeom prst="chevron">
              <a:avLst>
                <a:gd name="adj" fmla="val 34200"/>
              </a:avLst>
            </a:prstGeom>
            <a:solidFill>
              <a:srgbClr val="1994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en-GB" sz="1400" b="1" dirty="0" err="1">
                  <a:solidFill>
                    <a:schemeClr val="bg1"/>
                  </a:solidFill>
                </a:rPr>
                <a:t>Zuordnung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Text Box 30">
              <a:extLst>
                <a:ext uri="{FF2B5EF4-FFF2-40B4-BE49-F238E27FC236}">
                  <a16:creationId xmlns:a16="http://schemas.microsoft.com/office/drawing/2014/main" id="{DEA0E966-EFDF-4510-AAFB-757F3EACE22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506318" y="4404344"/>
              <a:ext cx="2093737" cy="10206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6450" tIns="0" rIns="0" bIns="0"/>
            <a:lstStyle>
              <a:defPPr>
                <a:defRPr lang="en-US"/>
              </a:defPPr>
              <a:lvl1pPr defTabSz="740038">
                <a:spcBef>
                  <a:spcPct val="20000"/>
                </a:spcBef>
                <a:defRPr sz="1292">
                  <a:solidFill>
                    <a:srgbClr val="19944F"/>
                  </a:solidFill>
                  <a:cs typeface="Arial" charset="0"/>
                </a:defRPr>
              </a:lvl1pPr>
            </a:lstStyle>
            <a:p>
              <a:r>
                <a:rPr lang="de-DE" sz="1400" dirty="0"/>
                <a:t>Unsere Skills und Erfahrungen identifizieren und anschließend Aufgaben-bereiche verteilen</a:t>
              </a:r>
            </a:p>
          </p:txBody>
        </p:sp>
        <p:sp>
          <p:nvSpPr>
            <p:cNvPr id="29" name="Line 31">
              <a:extLst>
                <a:ext uri="{FF2B5EF4-FFF2-40B4-BE49-F238E27FC236}">
                  <a16:creationId xmlns:a16="http://schemas.microsoft.com/office/drawing/2014/main" id="{F3982C77-ADDA-4C84-8340-FF2FA78AC185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4511824" y="4419558"/>
              <a:ext cx="0" cy="1120774"/>
            </a:xfrm>
            <a:prstGeom prst="line">
              <a:avLst/>
            </a:prstGeom>
            <a:noFill/>
            <a:ln w="19050">
              <a:solidFill>
                <a:srgbClr val="19944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292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4FF27DE-2D10-48C9-B5A5-F4BCBA35C33E}"/>
              </a:ext>
            </a:extLst>
          </p:cNvPr>
          <p:cNvGrpSpPr/>
          <p:nvPr/>
        </p:nvGrpSpPr>
        <p:grpSpPr>
          <a:xfrm>
            <a:off x="6259010" y="1916833"/>
            <a:ext cx="2861325" cy="2278316"/>
            <a:chOff x="6259010" y="1916833"/>
            <a:chExt cx="2861325" cy="2278316"/>
          </a:xfrm>
        </p:grpSpPr>
        <p:sp>
          <p:nvSpPr>
            <p:cNvPr id="7" name="Chevron 27">
              <a:extLst>
                <a:ext uri="{FF2B5EF4-FFF2-40B4-BE49-F238E27FC236}">
                  <a16:creationId xmlns:a16="http://schemas.microsoft.com/office/drawing/2014/main" id="{0319A34F-98BC-48CF-82A8-E20C784F10AF}"/>
                </a:ext>
              </a:extLst>
            </p:cNvPr>
            <p:cNvSpPr>
              <a:spLocks/>
            </p:cNvSpPr>
            <p:nvPr/>
          </p:nvSpPr>
          <p:spPr>
            <a:xfrm>
              <a:off x="6259010" y="3164391"/>
              <a:ext cx="2861325" cy="1030758"/>
            </a:xfrm>
            <a:prstGeom prst="chevron">
              <a:avLst>
                <a:gd name="adj" fmla="val 34200"/>
              </a:avLst>
            </a:prstGeom>
            <a:solidFill>
              <a:srgbClr val="20B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en-GB" sz="1400" b="1" dirty="0" err="1">
                  <a:solidFill>
                    <a:schemeClr val="bg1"/>
                  </a:solidFill>
                </a:rPr>
                <a:t>Implementierung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Text Box 32">
              <a:extLst>
                <a:ext uri="{FF2B5EF4-FFF2-40B4-BE49-F238E27FC236}">
                  <a16:creationId xmlns:a16="http://schemas.microsoft.com/office/drawing/2014/main" id="{4BF84422-0A9A-4CFB-A454-55DFCE6DC37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312024" y="1916834"/>
              <a:ext cx="2232247" cy="1208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6450" tIns="0" rIns="0" bIns="0"/>
            <a:lstStyle>
              <a:defPPr>
                <a:defRPr lang="en-US"/>
              </a:defPPr>
              <a:lvl1pPr defTabSz="740038">
                <a:spcBef>
                  <a:spcPct val="20000"/>
                </a:spcBef>
                <a:defRPr sz="1292">
                  <a:solidFill>
                    <a:srgbClr val="19944F"/>
                  </a:solidFill>
                  <a:cs typeface="Arial" charset="0"/>
                </a:defRPr>
              </a:lvl1pPr>
            </a:lstStyle>
            <a:p>
              <a:r>
                <a:rPr lang="en-GB" sz="1400" dirty="0">
                  <a:solidFill>
                    <a:srgbClr val="20BD67"/>
                  </a:solidFill>
                </a:rPr>
                <a:t>Die </a:t>
              </a:r>
              <a:r>
                <a:rPr lang="en-GB" sz="1400" dirty="0" err="1">
                  <a:solidFill>
                    <a:srgbClr val="20BD67"/>
                  </a:solidFill>
                </a:rPr>
                <a:t>eigentliche</a:t>
              </a:r>
              <a:r>
                <a:rPr lang="en-GB" sz="1400" dirty="0">
                  <a:solidFill>
                    <a:srgbClr val="20BD67"/>
                  </a:solidFill>
                </a:rPr>
                <a:t> </a:t>
              </a:r>
              <a:r>
                <a:rPr lang="en-GB" sz="1400" dirty="0" err="1">
                  <a:solidFill>
                    <a:srgbClr val="20BD67"/>
                  </a:solidFill>
                </a:rPr>
                <a:t>Umsetzung</a:t>
              </a:r>
              <a:r>
                <a:rPr lang="en-GB" sz="1400" dirty="0">
                  <a:solidFill>
                    <a:srgbClr val="20BD67"/>
                  </a:solidFill>
                </a:rPr>
                <a:t> </a:t>
              </a:r>
              <a:r>
                <a:rPr lang="en-GB" sz="1400" dirty="0" err="1">
                  <a:solidFill>
                    <a:srgbClr val="20BD67"/>
                  </a:solidFill>
                </a:rPr>
                <a:t>starten</a:t>
              </a:r>
              <a:r>
                <a:rPr lang="en-GB" sz="1400" dirty="0">
                  <a:solidFill>
                    <a:srgbClr val="20BD67"/>
                  </a:solidFill>
                </a:rPr>
                <a:t> und </a:t>
              </a:r>
              <a:r>
                <a:rPr lang="en-GB" sz="1400" dirty="0" err="1">
                  <a:solidFill>
                    <a:srgbClr val="20BD67"/>
                  </a:solidFill>
                </a:rPr>
                <a:t>mithilfe</a:t>
              </a:r>
              <a:r>
                <a:rPr lang="en-GB" sz="1400" dirty="0">
                  <a:solidFill>
                    <a:srgbClr val="20BD67"/>
                  </a:solidFill>
                </a:rPr>
                <a:t> </a:t>
              </a:r>
              <a:r>
                <a:rPr lang="en-GB" sz="1400" dirty="0" err="1">
                  <a:solidFill>
                    <a:srgbClr val="20BD67"/>
                  </a:solidFill>
                </a:rPr>
                <a:t>verschiedener</a:t>
              </a:r>
              <a:r>
                <a:rPr lang="en-GB" sz="1400" dirty="0">
                  <a:solidFill>
                    <a:srgbClr val="20BD67"/>
                  </a:solidFill>
                </a:rPr>
                <a:t> Tools den </a:t>
              </a:r>
              <a:r>
                <a:rPr lang="en-GB" sz="1400" dirty="0" err="1">
                  <a:solidFill>
                    <a:srgbClr val="20BD67"/>
                  </a:solidFill>
                </a:rPr>
                <a:t>Prototypen</a:t>
              </a:r>
              <a:r>
                <a:rPr lang="en-GB" sz="1400" dirty="0">
                  <a:solidFill>
                    <a:srgbClr val="20BD67"/>
                  </a:solidFill>
                </a:rPr>
                <a:t> und die </a:t>
              </a:r>
              <a:r>
                <a:rPr lang="en-GB" sz="1400" dirty="0" err="1">
                  <a:solidFill>
                    <a:srgbClr val="20BD67"/>
                  </a:solidFill>
                </a:rPr>
                <a:t>Präsentation</a:t>
              </a:r>
              <a:r>
                <a:rPr lang="en-GB" sz="1400" dirty="0">
                  <a:solidFill>
                    <a:srgbClr val="20BD67"/>
                  </a:solidFill>
                </a:rPr>
                <a:t> </a:t>
              </a:r>
              <a:r>
                <a:rPr lang="en-GB" sz="1400" dirty="0" err="1">
                  <a:solidFill>
                    <a:srgbClr val="20BD67"/>
                  </a:solidFill>
                </a:rPr>
                <a:t>fertigstellen</a:t>
              </a:r>
              <a:endParaRPr lang="en-GB" sz="1400" dirty="0">
                <a:solidFill>
                  <a:srgbClr val="20BD67"/>
                </a:solidFill>
              </a:endParaRPr>
            </a:p>
          </p:txBody>
        </p:sp>
        <p:sp>
          <p:nvSpPr>
            <p:cNvPr id="33" name="Line 33">
              <a:extLst>
                <a:ext uri="{FF2B5EF4-FFF2-40B4-BE49-F238E27FC236}">
                  <a16:creationId xmlns:a16="http://schemas.microsoft.com/office/drawing/2014/main" id="{351C43B5-7CF8-4BC3-8E23-FCA7A7D3B598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6312024" y="1916833"/>
              <a:ext cx="0" cy="1005401"/>
            </a:xfrm>
            <a:prstGeom prst="line">
              <a:avLst/>
            </a:prstGeom>
            <a:noFill/>
            <a:ln w="19050">
              <a:solidFill>
                <a:srgbClr val="20BD6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292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8A9A7CA-7EA7-40D3-B791-ECD2638A286E}"/>
              </a:ext>
            </a:extLst>
          </p:cNvPr>
          <p:cNvGrpSpPr/>
          <p:nvPr/>
        </p:nvGrpSpPr>
        <p:grpSpPr>
          <a:xfrm>
            <a:off x="1344451" y="3164391"/>
            <a:ext cx="1929924" cy="2375941"/>
            <a:chOff x="1344451" y="3164391"/>
            <a:chExt cx="1929924" cy="2375941"/>
          </a:xfrm>
        </p:grpSpPr>
        <p:sp>
          <p:nvSpPr>
            <p:cNvPr id="11" name="Pentagon 25">
              <a:extLst>
                <a:ext uri="{FF2B5EF4-FFF2-40B4-BE49-F238E27FC236}">
                  <a16:creationId xmlns:a16="http://schemas.microsoft.com/office/drawing/2014/main" id="{1A306161-DF87-4C39-883C-FFC22AD5D2FB}"/>
                </a:ext>
              </a:extLst>
            </p:cNvPr>
            <p:cNvSpPr>
              <a:spLocks/>
            </p:cNvSpPr>
            <p:nvPr/>
          </p:nvSpPr>
          <p:spPr>
            <a:xfrm>
              <a:off x="1344451" y="3164391"/>
              <a:ext cx="1511190" cy="1030758"/>
            </a:xfrm>
            <a:prstGeom prst="homePlate">
              <a:avLst>
                <a:gd name="adj" fmla="val 33636"/>
              </a:avLst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en-GB" sz="1400" b="1" dirty="0" err="1">
                  <a:solidFill>
                    <a:schemeClr val="bg1"/>
                  </a:solidFill>
                </a:rPr>
                <a:t>Überblick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Line 35">
              <a:extLst>
                <a:ext uri="{FF2B5EF4-FFF2-40B4-BE49-F238E27FC236}">
                  <a16:creationId xmlns:a16="http://schemas.microsoft.com/office/drawing/2014/main" id="{39593C2B-B96B-4F54-9A17-E7BF98169F6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368001" y="4419558"/>
              <a:ext cx="0" cy="1120774"/>
            </a:xfrm>
            <a:prstGeom prst="line">
              <a:avLst/>
            </a:prstGeom>
            <a:noFill/>
            <a:ln w="19050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lIns="66462"/>
            <a:lstStyle/>
            <a:p>
              <a:endParaRPr lang="en-GB" sz="1292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37" name="Text Box 36">
              <a:extLst>
                <a:ext uri="{FF2B5EF4-FFF2-40B4-BE49-F238E27FC236}">
                  <a16:creationId xmlns:a16="http://schemas.microsoft.com/office/drawing/2014/main" id="{806F797E-8E5A-43C1-B781-FE4F486A278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68001" y="4390397"/>
              <a:ext cx="1906374" cy="10345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6450" tIns="0" rIns="0" bIns="0"/>
            <a:lstStyle/>
            <a:p>
              <a:pPr defTabSz="740038">
                <a:spcBef>
                  <a:spcPct val="20000"/>
                </a:spcBef>
              </a:pPr>
              <a:r>
                <a:rPr lang="de-DE" sz="1400" dirty="0">
                  <a:solidFill>
                    <a:schemeClr val="accent6">
                      <a:lumMod val="75000"/>
                    </a:schemeClr>
                  </a:solidFill>
                  <a:cs typeface="Arial" charset="0"/>
                </a:rPr>
                <a:t>Grobe Anforderungen aufnehmen und erstes Brainstorming zu den Features einer Lösung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EBBFA24-9D28-4561-BC48-4CE9BDCF2C53}"/>
              </a:ext>
            </a:extLst>
          </p:cNvPr>
          <p:cNvGrpSpPr/>
          <p:nvPr/>
        </p:nvGrpSpPr>
        <p:grpSpPr>
          <a:xfrm>
            <a:off x="8936335" y="3164391"/>
            <a:ext cx="1911213" cy="2375941"/>
            <a:chOff x="8936335" y="3164391"/>
            <a:chExt cx="1911213" cy="2375941"/>
          </a:xfrm>
        </p:grpSpPr>
        <p:sp>
          <p:nvSpPr>
            <p:cNvPr id="9" name="Chevron 28">
              <a:extLst>
                <a:ext uri="{FF2B5EF4-FFF2-40B4-BE49-F238E27FC236}">
                  <a16:creationId xmlns:a16="http://schemas.microsoft.com/office/drawing/2014/main" id="{E36E68C8-073D-4528-B0E0-1CBD2FB9393A}"/>
                </a:ext>
              </a:extLst>
            </p:cNvPr>
            <p:cNvSpPr>
              <a:spLocks/>
            </p:cNvSpPr>
            <p:nvPr/>
          </p:nvSpPr>
          <p:spPr>
            <a:xfrm>
              <a:off x="8936335" y="3164391"/>
              <a:ext cx="1911213" cy="1030758"/>
            </a:xfrm>
            <a:prstGeom prst="chevron">
              <a:avLst>
                <a:gd name="adj" fmla="val 34200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en-GB" sz="1400" b="1" dirty="0" err="1">
                  <a:solidFill>
                    <a:schemeClr val="bg1"/>
                  </a:solidFill>
                </a:rPr>
                <a:t>Präsentation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Text Box 37">
              <a:extLst>
                <a:ext uri="{FF2B5EF4-FFF2-40B4-BE49-F238E27FC236}">
                  <a16:creationId xmlns:a16="http://schemas.microsoft.com/office/drawing/2014/main" id="{2A4A18FB-D17B-44CD-B577-6FAD6C387A1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987308" y="4404344"/>
              <a:ext cx="1860239" cy="10206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6450" tIns="0" rIns="0" bIns="0"/>
            <a:lstStyle>
              <a:defPPr>
                <a:defRPr lang="en-US"/>
              </a:defPPr>
              <a:lvl1pPr defTabSz="740038">
                <a:spcBef>
                  <a:spcPct val="20000"/>
                </a:spcBef>
                <a:defRPr sz="1292">
                  <a:solidFill>
                    <a:srgbClr val="19944F"/>
                  </a:solidFill>
                  <a:cs typeface="Arial" charset="0"/>
                </a:defRPr>
              </a:lvl1pPr>
            </a:lstStyle>
            <a:p>
              <a:r>
                <a:rPr lang="en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Das </a:t>
              </a:r>
              <a:r>
                <a:rPr lang="en-GB" sz="14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fertige</a:t>
              </a:r>
              <a:r>
                <a:rPr lang="en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</a:t>
              </a:r>
              <a:r>
                <a:rPr lang="en-GB" sz="14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Projekt</a:t>
              </a:r>
              <a:r>
                <a:rPr lang="en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und </a:t>
              </a:r>
              <a:r>
                <a:rPr lang="en-GB" sz="14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unser</a:t>
              </a:r>
              <a:r>
                <a:rPr lang="en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</a:t>
              </a:r>
              <a:r>
                <a:rPr lang="en-GB" sz="14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Vorgehen</a:t>
              </a:r>
              <a:r>
                <a:rPr lang="en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</a:t>
              </a:r>
              <a:r>
                <a:rPr lang="en-GB" sz="14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vorstellen</a:t>
              </a:r>
              <a:r>
                <a:rPr lang="en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und den </a:t>
              </a:r>
              <a:r>
                <a:rPr lang="en-GB" sz="14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Kunden</a:t>
              </a:r>
              <a:r>
                <a:rPr lang="en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</a:t>
              </a:r>
              <a:r>
                <a:rPr lang="en-GB" sz="14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erfolgreich</a:t>
              </a:r>
              <a:r>
                <a:rPr lang="en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</a:t>
              </a:r>
              <a:r>
                <a:rPr lang="en-GB" sz="14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überzeugen</a:t>
              </a:r>
              <a:endParaRPr lang="en-GB" sz="1400" dirty="0">
                <a:solidFill>
                  <a:schemeClr val="accent6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1" name="Line 38">
              <a:extLst>
                <a:ext uri="{FF2B5EF4-FFF2-40B4-BE49-F238E27FC236}">
                  <a16:creationId xmlns:a16="http://schemas.microsoft.com/office/drawing/2014/main" id="{3A3F0996-D297-4B3E-975F-0D67BDF25A51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8987308" y="4419558"/>
              <a:ext cx="0" cy="1120774"/>
            </a:xfrm>
            <a:prstGeom prst="line">
              <a:avLst/>
            </a:prstGeom>
            <a:noFill/>
            <a:ln w="19050">
              <a:solidFill>
                <a:schemeClr val="accent6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292"/>
            </a:p>
          </p:txBody>
        </p:sp>
      </p:grpSp>
    </p:spTree>
    <p:extLst>
      <p:ext uri="{BB962C8B-B14F-4D97-AF65-F5344CB8AC3E}">
        <p14:creationId xmlns:p14="http://schemas.microsoft.com/office/powerpoint/2010/main" val="1336482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DE387-FDE3-47ED-B780-B49C186D5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größten Hürden auf unserem Weg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4827F52-48CB-4290-B1AB-6879FDFD2033}"/>
              </a:ext>
            </a:extLst>
          </p:cNvPr>
          <p:cNvGrpSpPr/>
          <p:nvPr/>
        </p:nvGrpSpPr>
        <p:grpSpPr>
          <a:xfrm>
            <a:off x="8513170" y="1988198"/>
            <a:ext cx="2523317" cy="3817066"/>
            <a:chOff x="8517801" y="2060848"/>
            <a:chExt cx="2523317" cy="3817066"/>
          </a:xfrm>
        </p:grpSpPr>
        <p:grpSp>
          <p:nvGrpSpPr>
            <p:cNvPr id="20" name="Gruppieren 67591">
              <a:extLst>
                <a:ext uri="{FF2B5EF4-FFF2-40B4-BE49-F238E27FC236}">
                  <a16:creationId xmlns:a16="http://schemas.microsoft.com/office/drawing/2014/main" id="{235311B6-26F9-4EE3-A6D8-16BB95EC8756}"/>
                </a:ext>
              </a:extLst>
            </p:cNvPr>
            <p:cNvGrpSpPr/>
            <p:nvPr/>
          </p:nvGrpSpPr>
          <p:grpSpPr>
            <a:xfrm>
              <a:off x="9006005" y="2060848"/>
              <a:ext cx="1546909" cy="1591049"/>
              <a:chOff x="5418098" y="-1223183"/>
              <a:chExt cx="585788" cy="638173"/>
            </a:xfrm>
            <a:solidFill>
              <a:srgbClr val="19944F"/>
            </a:solidFill>
          </p:grpSpPr>
          <p:grpSp>
            <p:nvGrpSpPr>
              <p:cNvPr id="21" name="Group 39">
                <a:extLst>
                  <a:ext uri="{FF2B5EF4-FFF2-40B4-BE49-F238E27FC236}">
                    <a16:creationId xmlns:a16="http://schemas.microsoft.com/office/drawing/2014/main" id="{CDB9AB07-AA9B-477E-99BE-00730EABFD06}"/>
                  </a:ext>
                </a:extLst>
              </p:cNvPr>
              <p:cNvGrpSpPr/>
              <p:nvPr/>
            </p:nvGrpSpPr>
            <p:grpSpPr>
              <a:xfrm>
                <a:off x="5529223" y="-1223183"/>
                <a:ext cx="387350" cy="241299"/>
                <a:chOff x="3596771" y="3962385"/>
                <a:chExt cx="387350" cy="241299"/>
              </a:xfrm>
              <a:grpFill/>
            </p:grpSpPr>
            <p:sp>
              <p:nvSpPr>
                <p:cNvPr id="24" name="Freeform 69">
                  <a:extLst>
                    <a:ext uri="{FF2B5EF4-FFF2-40B4-BE49-F238E27FC236}">
                      <a16:creationId xmlns:a16="http://schemas.microsoft.com/office/drawing/2014/main" id="{1DA8C1A2-6606-4E0B-9B83-B0981019F3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6771" y="3962385"/>
                  <a:ext cx="171450" cy="241299"/>
                </a:xfrm>
                <a:custGeom>
                  <a:avLst/>
                  <a:gdLst/>
                  <a:ahLst/>
                  <a:cxnLst>
                    <a:cxn ang="0">
                      <a:pos x="12" y="16"/>
                    </a:cxn>
                    <a:cxn ang="0">
                      <a:pos x="32" y="15"/>
                    </a:cxn>
                    <a:cxn ang="0">
                      <a:pos x="28" y="11"/>
                    </a:cxn>
                    <a:cxn ang="0">
                      <a:pos x="30" y="2"/>
                    </a:cxn>
                    <a:cxn ang="0">
                      <a:pos x="39" y="2"/>
                    </a:cxn>
                    <a:cxn ang="0">
                      <a:pos x="42" y="7"/>
                    </a:cxn>
                    <a:cxn ang="0">
                      <a:pos x="38" y="13"/>
                    </a:cxn>
                    <a:cxn ang="0">
                      <a:pos x="39" y="18"/>
                    </a:cxn>
                    <a:cxn ang="0">
                      <a:pos x="56" y="17"/>
                    </a:cxn>
                    <a:cxn ang="0">
                      <a:pos x="66" y="26"/>
                    </a:cxn>
                    <a:cxn ang="0">
                      <a:pos x="61" y="35"/>
                    </a:cxn>
                    <a:cxn ang="0">
                      <a:pos x="49" y="43"/>
                    </a:cxn>
                    <a:cxn ang="0">
                      <a:pos x="49" y="44"/>
                    </a:cxn>
                    <a:cxn ang="0">
                      <a:pos x="49" y="44"/>
                    </a:cxn>
                    <a:cxn ang="0">
                      <a:pos x="49" y="44"/>
                    </a:cxn>
                    <a:cxn ang="0">
                      <a:pos x="49" y="44"/>
                    </a:cxn>
                    <a:cxn ang="0">
                      <a:pos x="49" y="44"/>
                    </a:cxn>
                    <a:cxn ang="0">
                      <a:pos x="49" y="44"/>
                    </a:cxn>
                    <a:cxn ang="0">
                      <a:pos x="49" y="44"/>
                    </a:cxn>
                    <a:cxn ang="0">
                      <a:pos x="48" y="47"/>
                    </a:cxn>
                    <a:cxn ang="0">
                      <a:pos x="60" y="60"/>
                    </a:cxn>
                    <a:cxn ang="0">
                      <a:pos x="65" y="70"/>
                    </a:cxn>
                    <a:cxn ang="0">
                      <a:pos x="54" y="77"/>
                    </a:cxn>
                    <a:cxn ang="0">
                      <a:pos x="34" y="78"/>
                    </a:cxn>
                    <a:cxn ang="0">
                      <a:pos x="36" y="80"/>
                    </a:cxn>
                    <a:cxn ang="0">
                      <a:pos x="38" y="83"/>
                    </a:cxn>
                    <a:cxn ang="0">
                      <a:pos x="39" y="87"/>
                    </a:cxn>
                    <a:cxn ang="0">
                      <a:pos x="36" y="92"/>
                    </a:cxn>
                    <a:cxn ang="0">
                      <a:pos x="27" y="91"/>
                    </a:cxn>
                    <a:cxn ang="0">
                      <a:pos x="26" y="82"/>
                    </a:cxn>
                    <a:cxn ang="0">
                      <a:pos x="29" y="80"/>
                    </a:cxn>
                    <a:cxn ang="0">
                      <a:pos x="27" y="75"/>
                    </a:cxn>
                    <a:cxn ang="0">
                      <a:pos x="1" y="76"/>
                    </a:cxn>
                    <a:cxn ang="0">
                      <a:pos x="0" y="57"/>
                    </a:cxn>
                    <a:cxn ang="0">
                      <a:pos x="14" y="55"/>
                    </a:cxn>
                    <a:cxn ang="0">
                      <a:pos x="15" y="38"/>
                    </a:cxn>
                    <a:cxn ang="0">
                      <a:pos x="0" y="35"/>
                    </a:cxn>
                    <a:cxn ang="0">
                      <a:pos x="3" y="15"/>
                    </a:cxn>
                  </a:cxnLst>
                  <a:rect l="0" t="0" r="r" b="b"/>
                  <a:pathLst>
                    <a:path w="67" h="94">
                      <a:moveTo>
                        <a:pt x="3" y="15"/>
                      </a:moveTo>
                      <a:cubicBezTo>
                        <a:pt x="5" y="15"/>
                        <a:pt x="9" y="16"/>
                        <a:pt x="12" y="16"/>
                      </a:cubicBezTo>
                      <a:cubicBezTo>
                        <a:pt x="18" y="17"/>
                        <a:pt x="25" y="17"/>
                        <a:pt x="29" y="18"/>
                      </a:cubicBezTo>
                      <a:cubicBezTo>
                        <a:pt x="30" y="18"/>
                        <a:pt x="32" y="17"/>
                        <a:pt x="32" y="15"/>
                      </a:cubicBezTo>
                      <a:cubicBezTo>
                        <a:pt x="32" y="14"/>
                        <a:pt x="31" y="13"/>
                        <a:pt x="30" y="13"/>
                      </a:cubicBezTo>
                      <a:cubicBezTo>
                        <a:pt x="29" y="12"/>
                        <a:pt x="29" y="11"/>
                        <a:pt x="28" y="11"/>
                      </a:cubicBezTo>
                      <a:cubicBezTo>
                        <a:pt x="28" y="10"/>
                        <a:pt x="27" y="8"/>
                        <a:pt x="27" y="7"/>
                      </a:cubicBezTo>
                      <a:cubicBezTo>
                        <a:pt x="27" y="5"/>
                        <a:pt x="28" y="3"/>
                        <a:pt x="30" y="2"/>
                      </a:cubicBezTo>
                      <a:cubicBezTo>
                        <a:pt x="31" y="1"/>
                        <a:pt x="33" y="0"/>
                        <a:pt x="35" y="0"/>
                      </a:cubicBezTo>
                      <a:cubicBezTo>
                        <a:pt x="37" y="0"/>
                        <a:pt x="38" y="1"/>
                        <a:pt x="39" y="2"/>
                      </a:cubicBezTo>
                      <a:cubicBezTo>
                        <a:pt x="39" y="2"/>
                        <a:pt x="39" y="2"/>
                        <a:pt x="39" y="2"/>
                      </a:cubicBezTo>
                      <a:cubicBezTo>
                        <a:pt x="41" y="4"/>
                        <a:pt x="42" y="5"/>
                        <a:pt x="42" y="7"/>
                      </a:cubicBezTo>
                      <a:cubicBezTo>
                        <a:pt x="42" y="9"/>
                        <a:pt x="41" y="10"/>
                        <a:pt x="41" y="11"/>
                      </a:cubicBezTo>
                      <a:cubicBezTo>
                        <a:pt x="40" y="12"/>
                        <a:pt x="39" y="13"/>
                        <a:pt x="38" y="13"/>
                      </a:cubicBezTo>
                      <a:cubicBezTo>
                        <a:pt x="37" y="14"/>
                        <a:pt x="36" y="15"/>
                        <a:pt x="37" y="17"/>
                      </a:cubicBezTo>
                      <a:cubicBezTo>
                        <a:pt x="38" y="17"/>
                        <a:pt x="38" y="18"/>
                        <a:pt x="39" y="18"/>
                      </a:cubicBezTo>
                      <a:cubicBezTo>
                        <a:pt x="39" y="18"/>
                        <a:pt x="39" y="18"/>
                        <a:pt x="39" y="18"/>
                      </a:cubicBezTo>
                      <a:cubicBezTo>
                        <a:pt x="44" y="18"/>
                        <a:pt x="50" y="18"/>
                        <a:pt x="56" y="17"/>
                      </a:cubicBezTo>
                      <a:cubicBezTo>
                        <a:pt x="60" y="17"/>
                        <a:pt x="63" y="17"/>
                        <a:pt x="66" y="17"/>
                      </a:cubicBezTo>
                      <a:cubicBezTo>
                        <a:pt x="66" y="19"/>
                        <a:pt x="66" y="23"/>
                        <a:pt x="66" y="26"/>
                      </a:cubicBezTo>
                      <a:cubicBezTo>
                        <a:pt x="66" y="30"/>
                        <a:pt x="67" y="33"/>
                        <a:pt x="67" y="37"/>
                      </a:cubicBezTo>
                      <a:cubicBezTo>
                        <a:pt x="65" y="36"/>
                        <a:pt x="63" y="35"/>
                        <a:pt x="61" y="35"/>
                      </a:cubicBezTo>
                      <a:cubicBezTo>
                        <a:pt x="58" y="35"/>
                        <a:pt x="55" y="37"/>
                        <a:pt x="52" y="39"/>
                      </a:cubicBezTo>
                      <a:cubicBezTo>
                        <a:pt x="51" y="40"/>
                        <a:pt x="50" y="42"/>
                        <a:pt x="49" y="43"/>
                      </a:cubicBezTo>
                      <a:cubicBezTo>
                        <a:pt x="49" y="43"/>
                        <a:pt x="49" y="43"/>
                        <a:pt x="49" y="43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9" y="44"/>
                        <a:pt x="49" y="44"/>
                        <a:pt x="49" y="44"/>
                      </a:cubicBezTo>
                      <a:cubicBezTo>
                        <a:pt x="48" y="45"/>
                        <a:pt x="48" y="46"/>
                        <a:pt x="48" y="47"/>
                      </a:cubicBezTo>
                      <a:cubicBezTo>
                        <a:pt x="48" y="51"/>
                        <a:pt x="50" y="54"/>
                        <a:pt x="52" y="56"/>
                      </a:cubicBezTo>
                      <a:cubicBezTo>
                        <a:pt x="54" y="58"/>
                        <a:pt x="57" y="60"/>
                        <a:pt x="60" y="60"/>
                      </a:cubicBezTo>
                      <a:cubicBezTo>
                        <a:pt x="62" y="60"/>
                        <a:pt x="64" y="60"/>
                        <a:pt x="66" y="59"/>
                      </a:cubicBezTo>
                      <a:cubicBezTo>
                        <a:pt x="66" y="62"/>
                        <a:pt x="65" y="66"/>
                        <a:pt x="65" y="70"/>
                      </a:cubicBezTo>
                      <a:cubicBezTo>
                        <a:pt x="65" y="73"/>
                        <a:pt x="64" y="76"/>
                        <a:pt x="64" y="78"/>
                      </a:cubicBezTo>
                      <a:cubicBezTo>
                        <a:pt x="61" y="78"/>
                        <a:pt x="58" y="78"/>
                        <a:pt x="54" y="77"/>
                      </a:cubicBezTo>
                      <a:cubicBezTo>
                        <a:pt x="48" y="76"/>
                        <a:pt x="42" y="76"/>
                        <a:pt x="37" y="76"/>
                      </a:cubicBezTo>
                      <a:cubicBezTo>
                        <a:pt x="36" y="76"/>
                        <a:pt x="34" y="77"/>
                        <a:pt x="34" y="78"/>
                      </a:cubicBezTo>
                      <a:cubicBezTo>
                        <a:pt x="34" y="79"/>
                        <a:pt x="35" y="80"/>
                        <a:pt x="36" y="80"/>
                      </a:cubicBezTo>
                      <a:cubicBezTo>
                        <a:pt x="36" y="80"/>
                        <a:pt x="36" y="80"/>
                        <a:pt x="36" y="80"/>
                      </a:cubicBezTo>
                      <a:cubicBezTo>
                        <a:pt x="37" y="81"/>
                        <a:pt x="38" y="82"/>
                        <a:pt x="38" y="83"/>
                      </a:cubicBezTo>
                      <a:cubicBezTo>
                        <a:pt x="38" y="83"/>
                        <a:pt x="38" y="83"/>
                        <a:pt x="38" y="83"/>
                      </a:cubicBezTo>
                      <a:cubicBezTo>
                        <a:pt x="38" y="83"/>
                        <a:pt x="38" y="83"/>
                        <a:pt x="38" y="83"/>
                      </a:cubicBezTo>
                      <a:cubicBezTo>
                        <a:pt x="39" y="84"/>
                        <a:pt x="39" y="85"/>
                        <a:pt x="39" y="87"/>
                      </a:cubicBezTo>
                      <a:cubicBezTo>
                        <a:pt x="39" y="88"/>
                        <a:pt x="38" y="90"/>
                        <a:pt x="37" y="92"/>
                      </a:cubicBezTo>
                      <a:cubicBezTo>
                        <a:pt x="36" y="92"/>
                        <a:pt x="36" y="92"/>
                        <a:pt x="36" y="92"/>
                      </a:cubicBezTo>
                      <a:cubicBezTo>
                        <a:pt x="35" y="93"/>
                        <a:pt x="33" y="94"/>
                        <a:pt x="32" y="94"/>
                      </a:cubicBezTo>
                      <a:cubicBezTo>
                        <a:pt x="30" y="94"/>
                        <a:pt x="28" y="93"/>
                        <a:pt x="27" y="91"/>
                      </a:cubicBezTo>
                      <a:cubicBezTo>
                        <a:pt x="26" y="90"/>
                        <a:pt x="25" y="88"/>
                        <a:pt x="25" y="86"/>
                      </a:cubicBezTo>
                      <a:cubicBezTo>
                        <a:pt x="25" y="85"/>
                        <a:pt x="25" y="83"/>
                        <a:pt x="26" y="82"/>
                      </a:cubicBezTo>
                      <a:cubicBezTo>
                        <a:pt x="26" y="82"/>
                        <a:pt x="26" y="82"/>
                        <a:pt x="26" y="82"/>
                      </a:cubicBezTo>
                      <a:cubicBezTo>
                        <a:pt x="27" y="81"/>
                        <a:pt x="27" y="81"/>
                        <a:pt x="29" y="80"/>
                      </a:cubicBezTo>
                      <a:cubicBezTo>
                        <a:pt x="30" y="80"/>
                        <a:pt x="30" y="78"/>
                        <a:pt x="30" y="77"/>
                      </a:cubicBezTo>
                      <a:cubicBezTo>
                        <a:pt x="29" y="76"/>
                        <a:pt x="28" y="75"/>
                        <a:pt x="27" y="75"/>
                      </a:cubicBezTo>
                      <a:cubicBezTo>
                        <a:pt x="23" y="75"/>
                        <a:pt x="16" y="75"/>
                        <a:pt x="10" y="76"/>
                      </a:cubicBezTo>
                      <a:cubicBezTo>
                        <a:pt x="7" y="76"/>
                        <a:pt x="3" y="76"/>
                        <a:pt x="1" y="76"/>
                      </a:cubicBezTo>
                      <a:cubicBezTo>
                        <a:pt x="0" y="74"/>
                        <a:pt x="0" y="71"/>
                        <a:pt x="0" y="67"/>
                      </a:cubicBezTo>
                      <a:cubicBezTo>
                        <a:pt x="0" y="64"/>
                        <a:pt x="0" y="60"/>
                        <a:pt x="0" y="57"/>
                      </a:cubicBezTo>
                      <a:cubicBezTo>
                        <a:pt x="1" y="58"/>
                        <a:pt x="3" y="58"/>
                        <a:pt x="5" y="58"/>
                      </a:cubicBezTo>
                      <a:cubicBezTo>
                        <a:pt x="8" y="58"/>
                        <a:pt x="12" y="57"/>
                        <a:pt x="14" y="55"/>
                      </a:cubicBezTo>
                      <a:cubicBezTo>
                        <a:pt x="16" y="53"/>
                        <a:pt x="18" y="50"/>
                        <a:pt x="18" y="46"/>
                      </a:cubicBezTo>
                      <a:cubicBezTo>
                        <a:pt x="18" y="43"/>
                        <a:pt x="17" y="40"/>
                        <a:pt x="15" y="38"/>
                      </a:cubicBezTo>
                      <a:cubicBezTo>
                        <a:pt x="12" y="35"/>
                        <a:pt x="9" y="34"/>
                        <a:pt x="6" y="34"/>
                      </a:cubicBezTo>
                      <a:cubicBezTo>
                        <a:pt x="4" y="34"/>
                        <a:pt x="2" y="34"/>
                        <a:pt x="0" y="35"/>
                      </a:cubicBezTo>
                      <a:cubicBezTo>
                        <a:pt x="1" y="31"/>
                        <a:pt x="1" y="28"/>
                        <a:pt x="1" y="24"/>
                      </a:cubicBezTo>
                      <a:cubicBezTo>
                        <a:pt x="2" y="21"/>
                        <a:pt x="2" y="17"/>
                        <a:pt x="3" y="1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5" name="Freeform 70">
                  <a:extLst>
                    <a:ext uri="{FF2B5EF4-FFF2-40B4-BE49-F238E27FC236}">
                      <a16:creationId xmlns:a16="http://schemas.microsoft.com/office/drawing/2014/main" id="{7443D35D-B4B1-4F8E-BE50-1E881BC90C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2821" y="3995722"/>
                  <a:ext cx="241300" cy="171449"/>
                </a:xfrm>
                <a:custGeom>
                  <a:avLst/>
                  <a:gdLst/>
                  <a:ahLst/>
                  <a:cxnLst>
                    <a:cxn ang="0">
                      <a:pos x="78" y="29"/>
                    </a:cxn>
                    <a:cxn ang="0">
                      <a:pos x="83" y="25"/>
                    </a:cxn>
                    <a:cxn ang="0">
                      <a:pos x="92" y="36"/>
                    </a:cxn>
                    <a:cxn ang="0">
                      <a:pos x="83" y="38"/>
                    </a:cxn>
                    <a:cxn ang="0">
                      <a:pos x="76" y="37"/>
                    </a:cxn>
                    <a:cxn ang="0">
                      <a:pos x="59" y="66"/>
                    </a:cxn>
                    <a:cxn ang="0">
                      <a:pos x="47" y="48"/>
                    </a:cxn>
                    <a:cxn ang="0">
                      <a:pos x="26" y="66"/>
                    </a:cxn>
                    <a:cxn ang="0">
                      <a:pos x="18" y="40"/>
                    </a:cxn>
                    <a:cxn ang="0">
                      <a:pos x="18" y="39"/>
                    </a:cxn>
                    <a:cxn ang="0">
                      <a:pos x="18" y="39"/>
                    </a:cxn>
                    <a:cxn ang="0">
                      <a:pos x="18" y="39"/>
                    </a:cxn>
                    <a:cxn ang="0">
                      <a:pos x="18" y="39"/>
                    </a:cxn>
                    <a:cxn ang="0">
                      <a:pos x="18" y="39"/>
                    </a:cxn>
                    <a:cxn ang="0">
                      <a:pos x="18" y="38"/>
                    </a:cxn>
                    <a:cxn ang="0">
                      <a:pos x="18" y="38"/>
                    </a:cxn>
                    <a:cxn ang="0">
                      <a:pos x="18" y="38"/>
                    </a:cxn>
                    <a:cxn ang="0">
                      <a:pos x="18" y="38"/>
                    </a:cxn>
                    <a:cxn ang="0">
                      <a:pos x="18" y="38"/>
                    </a:cxn>
                    <a:cxn ang="0">
                      <a:pos x="18" y="38"/>
                    </a:cxn>
                    <a:cxn ang="0">
                      <a:pos x="18" y="38"/>
                    </a:cxn>
                    <a:cxn ang="0">
                      <a:pos x="18" y="38"/>
                    </a:cxn>
                    <a:cxn ang="0">
                      <a:pos x="17" y="37"/>
                    </a:cxn>
                    <a:cxn ang="0">
                      <a:pos x="17" y="37"/>
                    </a:cxn>
                    <a:cxn ang="0">
                      <a:pos x="17" y="37"/>
                    </a:cxn>
                    <a:cxn ang="0">
                      <a:pos x="16" y="37"/>
                    </a:cxn>
                    <a:cxn ang="0">
                      <a:pos x="16" y="37"/>
                    </a:cxn>
                    <a:cxn ang="0">
                      <a:pos x="16" y="37"/>
                    </a:cxn>
                    <a:cxn ang="0">
                      <a:pos x="15" y="37"/>
                    </a:cxn>
                    <a:cxn ang="0">
                      <a:pos x="15" y="37"/>
                    </a:cxn>
                    <a:cxn ang="0">
                      <a:pos x="15" y="37"/>
                    </a:cxn>
                    <a:cxn ang="0">
                      <a:pos x="15" y="37"/>
                    </a:cxn>
                    <a:cxn ang="0">
                      <a:pos x="15" y="37"/>
                    </a:cxn>
                    <a:cxn ang="0">
                      <a:pos x="15" y="37"/>
                    </a:cxn>
                    <a:cxn ang="0">
                      <a:pos x="15" y="37"/>
                    </a:cxn>
                    <a:cxn ang="0">
                      <a:pos x="15" y="37"/>
                    </a:cxn>
                    <a:cxn ang="0">
                      <a:pos x="15" y="37"/>
                    </a:cxn>
                    <a:cxn ang="0">
                      <a:pos x="15" y="37"/>
                    </a:cxn>
                    <a:cxn ang="0">
                      <a:pos x="14" y="37"/>
                    </a:cxn>
                    <a:cxn ang="0">
                      <a:pos x="13" y="38"/>
                    </a:cxn>
                    <a:cxn ang="0">
                      <a:pos x="13" y="38"/>
                    </a:cxn>
                    <a:cxn ang="0">
                      <a:pos x="13" y="38"/>
                    </a:cxn>
                    <a:cxn ang="0">
                      <a:pos x="13" y="38"/>
                    </a:cxn>
                    <a:cxn ang="0">
                      <a:pos x="13" y="38"/>
                    </a:cxn>
                    <a:cxn ang="0">
                      <a:pos x="13" y="38"/>
                    </a:cxn>
                    <a:cxn ang="0">
                      <a:pos x="13" y="39"/>
                    </a:cxn>
                    <a:cxn ang="0">
                      <a:pos x="13" y="39"/>
                    </a:cxn>
                    <a:cxn ang="0">
                      <a:pos x="13" y="39"/>
                    </a:cxn>
                    <a:cxn ang="0">
                      <a:pos x="13" y="39"/>
                    </a:cxn>
                    <a:cxn ang="0">
                      <a:pos x="13" y="39"/>
                    </a:cxn>
                    <a:cxn ang="0">
                      <a:pos x="11" y="41"/>
                    </a:cxn>
                    <a:cxn ang="0">
                      <a:pos x="0" y="35"/>
                    </a:cxn>
                    <a:cxn ang="0">
                      <a:pos x="11" y="28"/>
                    </a:cxn>
                    <a:cxn ang="0">
                      <a:pos x="18" y="30"/>
                    </a:cxn>
                    <a:cxn ang="0">
                      <a:pos x="18" y="30"/>
                    </a:cxn>
                    <a:cxn ang="0">
                      <a:pos x="15" y="3"/>
                    </a:cxn>
                    <a:cxn ang="0">
                      <a:pos x="38" y="15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94" h="67">
                      <a:moveTo>
                        <a:pt x="76" y="0"/>
                      </a:moveTo>
                      <a:cubicBezTo>
                        <a:pt x="76" y="3"/>
                        <a:pt x="76" y="6"/>
                        <a:pt x="76" y="10"/>
                      </a:cubicBezTo>
                      <a:cubicBezTo>
                        <a:pt x="76" y="16"/>
                        <a:pt x="76" y="23"/>
                        <a:pt x="76" y="27"/>
                      </a:cubicBezTo>
                      <a:cubicBezTo>
                        <a:pt x="76" y="28"/>
                        <a:pt x="77" y="29"/>
                        <a:pt x="78" y="29"/>
                      </a:cubicBezTo>
                      <a:cubicBezTo>
                        <a:pt x="79" y="29"/>
                        <a:pt x="80" y="29"/>
                        <a:pt x="80" y="28"/>
                      </a:cubicBezTo>
                      <a:cubicBezTo>
                        <a:pt x="80" y="28"/>
                        <a:pt x="80" y="28"/>
                        <a:pt x="80" y="28"/>
                      </a:cubicBezTo>
                      <a:cubicBezTo>
                        <a:pt x="81" y="27"/>
                        <a:pt x="82" y="26"/>
                        <a:pt x="83" y="25"/>
                      </a:cubicBezTo>
                      <a:cubicBezTo>
                        <a:pt x="83" y="25"/>
                        <a:pt x="83" y="25"/>
                        <a:pt x="83" y="25"/>
                      </a:cubicBezTo>
                      <a:cubicBezTo>
                        <a:pt x="83" y="25"/>
                        <a:pt x="85" y="24"/>
                        <a:pt x="86" y="24"/>
                      </a:cubicBezTo>
                      <a:cubicBezTo>
                        <a:pt x="88" y="24"/>
                        <a:pt x="90" y="25"/>
                        <a:pt x="91" y="27"/>
                      </a:cubicBezTo>
                      <a:cubicBezTo>
                        <a:pt x="93" y="28"/>
                        <a:pt x="94" y="29"/>
                        <a:pt x="94" y="31"/>
                      </a:cubicBezTo>
                      <a:cubicBezTo>
                        <a:pt x="94" y="33"/>
                        <a:pt x="93" y="35"/>
                        <a:pt x="92" y="36"/>
                      </a:cubicBezTo>
                      <a:cubicBezTo>
                        <a:pt x="92" y="36"/>
                        <a:pt x="92" y="36"/>
                        <a:pt x="92" y="36"/>
                      </a:cubicBezTo>
                      <a:cubicBezTo>
                        <a:pt x="90" y="38"/>
                        <a:pt x="89" y="39"/>
                        <a:pt x="87" y="39"/>
                      </a:cubicBezTo>
                      <a:cubicBezTo>
                        <a:pt x="85" y="39"/>
                        <a:pt x="84" y="39"/>
                        <a:pt x="83" y="38"/>
                      </a:cubicBezTo>
                      <a:cubicBezTo>
                        <a:pt x="83" y="38"/>
                        <a:pt x="83" y="38"/>
                        <a:pt x="83" y="38"/>
                      </a:cubicBezTo>
                      <a:cubicBezTo>
                        <a:pt x="82" y="37"/>
                        <a:pt x="81" y="37"/>
                        <a:pt x="81" y="36"/>
                      </a:cubicBezTo>
                      <a:cubicBezTo>
                        <a:pt x="80" y="34"/>
                        <a:pt x="78" y="34"/>
                        <a:pt x="77" y="35"/>
                      </a:cubicBezTo>
                      <a:cubicBezTo>
                        <a:pt x="76" y="35"/>
                        <a:pt x="76" y="36"/>
                        <a:pt x="76" y="37"/>
                      </a:cubicBezTo>
                      <a:cubicBezTo>
                        <a:pt x="76" y="37"/>
                        <a:pt x="76" y="37"/>
                        <a:pt x="76" y="37"/>
                      </a:cubicBezTo>
                      <a:cubicBezTo>
                        <a:pt x="76" y="41"/>
                        <a:pt x="77" y="48"/>
                        <a:pt x="78" y="54"/>
                      </a:cubicBezTo>
                      <a:cubicBezTo>
                        <a:pt x="78" y="58"/>
                        <a:pt x="78" y="61"/>
                        <a:pt x="79" y="63"/>
                      </a:cubicBezTo>
                      <a:cubicBezTo>
                        <a:pt x="76" y="64"/>
                        <a:pt x="73" y="64"/>
                        <a:pt x="70" y="65"/>
                      </a:cubicBezTo>
                      <a:cubicBezTo>
                        <a:pt x="66" y="65"/>
                        <a:pt x="62" y="65"/>
                        <a:pt x="59" y="66"/>
                      </a:cubicBezTo>
                      <a:cubicBezTo>
                        <a:pt x="60" y="64"/>
                        <a:pt x="60" y="62"/>
                        <a:pt x="60" y="60"/>
                      </a:cubicBezTo>
                      <a:cubicBezTo>
                        <a:pt x="60" y="57"/>
                        <a:pt x="58" y="54"/>
                        <a:pt x="56" y="52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3" y="49"/>
                        <a:pt x="51" y="48"/>
                        <a:pt x="47" y="48"/>
                      </a:cubicBezTo>
                      <a:cubicBezTo>
                        <a:pt x="44" y="48"/>
                        <a:pt x="41" y="50"/>
                        <a:pt x="39" y="52"/>
                      </a:cubicBezTo>
                      <a:cubicBezTo>
                        <a:pt x="37" y="55"/>
                        <a:pt x="35" y="58"/>
                        <a:pt x="36" y="61"/>
                      </a:cubicBezTo>
                      <a:cubicBezTo>
                        <a:pt x="36" y="63"/>
                        <a:pt x="36" y="65"/>
                        <a:pt x="37" y="67"/>
                      </a:cubicBezTo>
                      <a:cubicBezTo>
                        <a:pt x="34" y="67"/>
                        <a:pt x="30" y="66"/>
                        <a:pt x="26" y="66"/>
                      </a:cubicBezTo>
                      <a:cubicBezTo>
                        <a:pt x="23" y="66"/>
                        <a:pt x="20" y="66"/>
                        <a:pt x="17" y="66"/>
                      </a:cubicBezTo>
                      <a:cubicBezTo>
                        <a:pt x="18" y="63"/>
                        <a:pt x="18" y="60"/>
                        <a:pt x="18" y="56"/>
                      </a:cubicBezTo>
                      <a:cubicBezTo>
                        <a:pt x="18" y="51"/>
                        <a:pt x="18" y="44"/>
                        <a:pt x="18" y="40"/>
                      </a:cubicBezTo>
                      <a:cubicBezTo>
                        <a:pt x="18" y="40"/>
                        <a:pt x="18" y="40"/>
                        <a:pt x="18" y="40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18" y="38"/>
                        <a:pt x="18" y="38"/>
                        <a:pt x="18" y="37"/>
                      </a:cubicBezTo>
                      <a:cubicBezTo>
                        <a:pt x="18" y="37"/>
                        <a:pt x="18" y="37"/>
                        <a:pt x="18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37"/>
                        <a:pt x="16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ubicBezTo>
                        <a:pt x="14" y="37"/>
                        <a:pt x="14" y="37"/>
                        <a:pt x="14" y="37"/>
                      </a:cubicBezTo>
                      <a:cubicBezTo>
                        <a:pt x="14" y="37"/>
                        <a:pt x="14" y="37"/>
                        <a:pt x="14" y="37"/>
                      </a:cubicBezTo>
                      <a:cubicBezTo>
                        <a:pt x="14" y="37"/>
                        <a:pt x="14" y="37"/>
                        <a:pt x="14" y="37"/>
                      </a:cubicBezTo>
                      <a:cubicBezTo>
                        <a:pt x="14" y="37"/>
                        <a:pt x="14" y="37"/>
                        <a:pt x="14" y="37"/>
                      </a:cubicBezTo>
                      <a:cubicBezTo>
                        <a:pt x="14" y="37"/>
                        <a:pt x="14" y="37"/>
                        <a:pt x="14" y="37"/>
                      </a:cubicBezTo>
                      <a:cubicBezTo>
                        <a:pt x="14" y="37"/>
                        <a:pt x="14" y="37"/>
                        <a:pt x="14" y="37"/>
                      </a:cubicBezTo>
                      <a:cubicBezTo>
                        <a:pt x="14" y="37"/>
                        <a:pt x="14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3" y="39"/>
                        <a:pt x="13" y="39"/>
                        <a:pt x="13" y="39"/>
                      </a:cubicBezTo>
                      <a:cubicBezTo>
                        <a:pt x="12" y="39"/>
                        <a:pt x="12" y="39"/>
                        <a:pt x="12" y="39"/>
                      </a:cubicBezTo>
                      <a:cubicBezTo>
                        <a:pt x="12" y="39"/>
                        <a:pt x="12" y="39"/>
                        <a:pt x="12" y="39"/>
                      </a:cubicBezTo>
                      <a:cubicBezTo>
                        <a:pt x="12" y="40"/>
                        <a:pt x="12" y="40"/>
                        <a:pt x="11" y="41"/>
                      </a:cubicBezTo>
                      <a:cubicBezTo>
                        <a:pt x="10" y="41"/>
                        <a:pt x="9" y="42"/>
                        <a:pt x="7" y="42"/>
                      </a:cubicBezTo>
                      <a:cubicBezTo>
                        <a:pt x="6" y="42"/>
                        <a:pt x="4" y="41"/>
                        <a:pt x="2" y="40"/>
                      </a:cubicBez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38"/>
                        <a:pt x="0" y="37"/>
                        <a:pt x="0" y="35"/>
                      </a:cubicBezTo>
                      <a:cubicBezTo>
                        <a:pt x="0" y="33"/>
                        <a:pt x="0" y="31"/>
                        <a:pt x="2" y="30"/>
                      </a:cubicBezTo>
                      <a:cubicBezTo>
                        <a:pt x="2" y="30"/>
                        <a:pt x="2" y="30"/>
                        <a:pt x="2" y="30"/>
                      </a:cubicBezTo>
                      <a:cubicBezTo>
                        <a:pt x="3" y="28"/>
                        <a:pt x="5" y="28"/>
                        <a:pt x="7" y="27"/>
                      </a:cubicBezTo>
                      <a:cubicBezTo>
                        <a:pt x="8" y="27"/>
                        <a:pt x="10" y="28"/>
                        <a:pt x="11" y="28"/>
                      </a:cubicBezTo>
                      <a:cubicBezTo>
                        <a:pt x="12" y="29"/>
                        <a:pt x="12" y="30"/>
                        <a:pt x="13" y="31"/>
                      </a:cubicBezTo>
                      <a:cubicBezTo>
                        <a:pt x="14" y="32"/>
                        <a:pt x="14" y="32"/>
                        <a:pt x="15" y="32"/>
                      </a:cubicBezTo>
                      <a:cubicBezTo>
                        <a:pt x="17" y="32"/>
                        <a:pt x="18" y="31"/>
                        <a:pt x="18" y="30"/>
                      </a:cubicBezTo>
                      <a:cubicBezTo>
                        <a:pt x="18" y="30"/>
                        <a:pt x="18" y="30"/>
                        <a:pt x="18" y="30"/>
                      </a:cubicBezTo>
                      <a:cubicBezTo>
                        <a:pt x="18" y="30"/>
                        <a:pt x="18" y="30"/>
                        <a:pt x="18" y="30"/>
                      </a:cubicBezTo>
                      <a:cubicBezTo>
                        <a:pt x="18" y="30"/>
                        <a:pt x="18" y="30"/>
                        <a:pt x="18" y="30"/>
                      </a:cubicBezTo>
                      <a:cubicBezTo>
                        <a:pt x="18" y="30"/>
                        <a:pt x="18" y="30"/>
                        <a:pt x="18" y="30"/>
                      </a:cubicBezTo>
                      <a:cubicBezTo>
                        <a:pt x="18" y="30"/>
                        <a:pt x="18" y="30"/>
                        <a:pt x="18" y="30"/>
                      </a:cubicBezTo>
                      <a:cubicBezTo>
                        <a:pt x="18" y="30"/>
                        <a:pt x="18" y="30"/>
                        <a:pt x="18" y="30"/>
                      </a:cubicBezTo>
                      <a:cubicBezTo>
                        <a:pt x="18" y="30"/>
                        <a:pt x="18" y="29"/>
                        <a:pt x="18" y="29"/>
                      </a:cubicBezTo>
                      <a:cubicBezTo>
                        <a:pt x="17" y="25"/>
                        <a:pt x="17" y="18"/>
                        <a:pt x="16" y="12"/>
                      </a:cubicBezTo>
                      <a:cubicBezTo>
                        <a:pt x="16" y="9"/>
                        <a:pt x="15" y="5"/>
                        <a:pt x="15" y="3"/>
                      </a:cubicBezTo>
                      <a:cubicBezTo>
                        <a:pt x="17" y="2"/>
                        <a:pt x="20" y="2"/>
                        <a:pt x="24" y="2"/>
                      </a:cubicBezTo>
                      <a:cubicBezTo>
                        <a:pt x="27" y="1"/>
                        <a:pt x="31" y="1"/>
                        <a:pt x="34" y="0"/>
                      </a:cubicBezTo>
                      <a:cubicBezTo>
                        <a:pt x="34" y="2"/>
                        <a:pt x="33" y="4"/>
                        <a:pt x="33" y="6"/>
                      </a:cubicBezTo>
                      <a:cubicBezTo>
                        <a:pt x="34" y="9"/>
                        <a:pt x="35" y="12"/>
                        <a:pt x="38" y="15"/>
                      </a:cubicBezTo>
                      <a:cubicBezTo>
                        <a:pt x="40" y="17"/>
                        <a:pt x="43" y="18"/>
                        <a:pt x="46" y="18"/>
                      </a:cubicBezTo>
                      <a:cubicBezTo>
                        <a:pt x="49" y="18"/>
                        <a:pt x="52" y="16"/>
                        <a:pt x="54" y="14"/>
                      </a:cubicBezTo>
                      <a:cubicBezTo>
                        <a:pt x="57" y="12"/>
                        <a:pt x="58" y="8"/>
                        <a:pt x="58" y="5"/>
                      </a:cubicBezTo>
                      <a:cubicBezTo>
                        <a:pt x="58" y="3"/>
                        <a:pt x="57" y="1"/>
                        <a:pt x="56" y="0"/>
                      </a:cubicBezTo>
                      <a:cubicBezTo>
                        <a:pt x="60" y="0"/>
                        <a:pt x="64" y="0"/>
                        <a:pt x="67" y="0"/>
                      </a:cubicBezTo>
                      <a:cubicBezTo>
                        <a:pt x="71" y="0"/>
                        <a:pt x="74" y="0"/>
                        <a:pt x="76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22" name="Freeform 71">
                <a:extLst>
                  <a:ext uri="{FF2B5EF4-FFF2-40B4-BE49-F238E27FC236}">
                    <a16:creationId xmlns:a16="http://schemas.microsoft.com/office/drawing/2014/main" id="{8CC3F164-8F93-41D8-8E61-C93EA1FA28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8098" y="-972359"/>
                <a:ext cx="336550" cy="387349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63" y="15"/>
                  </a:cxn>
                  <a:cxn ang="0">
                    <a:pos x="51" y="42"/>
                  </a:cxn>
                  <a:cxn ang="0">
                    <a:pos x="31" y="17"/>
                  </a:cxn>
                  <a:cxn ang="0">
                    <a:pos x="46" y="0"/>
                  </a:cxn>
                  <a:cxn ang="0">
                    <a:pos x="76" y="150"/>
                  </a:cxn>
                  <a:cxn ang="0">
                    <a:pos x="27" y="150"/>
                  </a:cxn>
                  <a:cxn ang="0">
                    <a:pos x="28" y="108"/>
                  </a:cxn>
                  <a:cxn ang="0">
                    <a:pos x="26" y="88"/>
                  </a:cxn>
                  <a:cxn ang="0">
                    <a:pos x="20" y="100"/>
                  </a:cxn>
                  <a:cxn ang="0">
                    <a:pos x="21" y="138"/>
                  </a:cxn>
                  <a:cxn ang="0">
                    <a:pos x="6" y="140"/>
                  </a:cxn>
                  <a:cxn ang="0">
                    <a:pos x="3" y="95"/>
                  </a:cxn>
                  <a:cxn ang="0">
                    <a:pos x="23" y="56"/>
                  </a:cxn>
                  <a:cxn ang="0">
                    <a:pos x="26" y="52"/>
                  </a:cxn>
                  <a:cxn ang="0">
                    <a:pos x="43" y="46"/>
                  </a:cxn>
                  <a:cxn ang="0">
                    <a:pos x="56" y="70"/>
                  </a:cxn>
                  <a:cxn ang="0">
                    <a:pos x="52" y="51"/>
                  </a:cxn>
                  <a:cxn ang="0">
                    <a:pos x="54" y="51"/>
                  </a:cxn>
                  <a:cxn ang="0">
                    <a:pos x="61" y="67"/>
                  </a:cxn>
                  <a:cxn ang="0">
                    <a:pos x="57" y="46"/>
                  </a:cxn>
                  <a:cxn ang="0">
                    <a:pos x="69" y="55"/>
                  </a:cxn>
                  <a:cxn ang="0">
                    <a:pos x="89" y="94"/>
                  </a:cxn>
                  <a:cxn ang="0">
                    <a:pos x="120" y="112"/>
                  </a:cxn>
                  <a:cxn ang="0">
                    <a:pos x="114" y="125"/>
                  </a:cxn>
                  <a:cxn ang="0">
                    <a:pos x="79" y="108"/>
                  </a:cxn>
                  <a:cxn ang="0">
                    <a:pos x="75" y="103"/>
                  </a:cxn>
                  <a:cxn ang="0">
                    <a:pos x="72" y="99"/>
                  </a:cxn>
                  <a:cxn ang="0">
                    <a:pos x="76" y="150"/>
                  </a:cxn>
                </a:cxnLst>
                <a:rect l="0" t="0" r="r" b="b"/>
                <a:pathLst>
                  <a:path w="131" h="151">
                    <a:moveTo>
                      <a:pt x="46" y="0"/>
                    </a:moveTo>
                    <a:cubicBezTo>
                      <a:pt x="55" y="0"/>
                      <a:pt x="63" y="6"/>
                      <a:pt x="63" y="15"/>
                    </a:cubicBezTo>
                    <a:cubicBezTo>
                      <a:pt x="64" y="23"/>
                      <a:pt x="61" y="41"/>
                      <a:pt x="51" y="42"/>
                    </a:cubicBezTo>
                    <a:cubicBezTo>
                      <a:pt x="41" y="42"/>
                      <a:pt x="32" y="25"/>
                      <a:pt x="31" y="17"/>
                    </a:cubicBezTo>
                    <a:cubicBezTo>
                      <a:pt x="31" y="8"/>
                      <a:pt x="38" y="1"/>
                      <a:pt x="46" y="0"/>
                    </a:cubicBezTo>
                    <a:close/>
                    <a:moveTo>
                      <a:pt x="76" y="150"/>
                    </a:moveTo>
                    <a:cubicBezTo>
                      <a:pt x="27" y="150"/>
                      <a:pt x="27" y="150"/>
                      <a:pt x="27" y="150"/>
                    </a:cubicBezTo>
                    <a:cubicBezTo>
                      <a:pt x="28" y="136"/>
                      <a:pt x="28" y="123"/>
                      <a:pt x="28" y="108"/>
                    </a:cubicBezTo>
                    <a:cubicBezTo>
                      <a:pt x="28" y="102"/>
                      <a:pt x="27" y="95"/>
                      <a:pt x="26" y="88"/>
                    </a:cubicBezTo>
                    <a:cubicBezTo>
                      <a:pt x="24" y="92"/>
                      <a:pt x="22" y="96"/>
                      <a:pt x="20" y="100"/>
                    </a:cubicBezTo>
                    <a:cubicBezTo>
                      <a:pt x="20" y="117"/>
                      <a:pt x="19" y="122"/>
                      <a:pt x="21" y="138"/>
                    </a:cubicBezTo>
                    <a:cubicBezTo>
                      <a:pt x="22" y="149"/>
                      <a:pt x="7" y="151"/>
                      <a:pt x="6" y="140"/>
                    </a:cubicBezTo>
                    <a:cubicBezTo>
                      <a:pt x="5" y="131"/>
                      <a:pt x="0" y="102"/>
                      <a:pt x="3" y="95"/>
                    </a:cubicBezTo>
                    <a:cubicBezTo>
                      <a:pt x="8" y="82"/>
                      <a:pt x="16" y="68"/>
                      <a:pt x="23" y="56"/>
                    </a:cubicBezTo>
                    <a:cubicBezTo>
                      <a:pt x="24" y="54"/>
                      <a:pt x="25" y="53"/>
                      <a:pt x="26" y="52"/>
                    </a:cubicBezTo>
                    <a:cubicBezTo>
                      <a:pt x="28" y="50"/>
                      <a:pt x="39" y="47"/>
                      <a:pt x="43" y="46"/>
                    </a:cubicBezTo>
                    <a:cubicBezTo>
                      <a:pt x="48" y="53"/>
                      <a:pt x="51" y="59"/>
                      <a:pt x="56" y="70"/>
                    </a:cubicBezTo>
                    <a:cubicBezTo>
                      <a:pt x="55" y="64"/>
                      <a:pt x="54" y="58"/>
                      <a:pt x="52" y="51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7" y="55"/>
                      <a:pt x="60" y="63"/>
                      <a:pt x="61" y="67"/>
                    </a:cubicBezTo>
                    <a:cubicBezTo>
                      <a:pt x="61" y="60"/>
                      <a:pt x="60" y="52"/>
                      <a:pt x="57" y="46"/>
                    </a:cubicBezTo>
                    <a:cubicBezTo>
                      <a:pt x="64" y="48"/>
                      <a:pt x="66" y="50"/>
                      <a:pt x="69" y="55"/>
                    </a:cubicBezTo>
                    <a:cubicBezTo>
                      <a:pt x="75" y="67"/>
                      <a:pt x="82" y="82"/>
                      <a:pt x="89" y="94"/>
                    </a:cubicBezTo>
                    <a:cubicBezTo>
                      <a:pt x="101" y="102"/>
                      <a:pt x="108" y="105"/>
                      <a:pt x="120" y="112"/>
                    </a:cubicBezTo>
                    <a:cubicBezTo>
                      <a:pt x="131" y="117"/>
                      <a:pt x="125" y="129"/>
                      <a:pt x="114" y="125"/>
                    </a:cubicBezTo>
                    <a:cubicBezTo>
                      <a:pt x="100" y="120"/>
                      <a:pt x="91" y="116"/>
                      <a:pt x="79" y="108"/>
                    </a:cubicBezTo>
                    <a:cubicBezTo>
                      <a:pt x="77" y="107"/>
                      <a:pt x="76" y="105"/>
                      <a:pt x="75" y="103"/>
                    </a:cubicBezTo>
                    <a:cubicBezTo>
                      <a:pt x="74" y="102"/>
                      <a:pt x="73" y="100"/>
                      <a:pt x="72" y="99"/>
                    </a:cubicBezTo>
                    <a:cubicBezTo>
                      <a:pt x="74" y="114"/>
                      <a:pt x="75" y="128"/>
                      <a:pt x="76" y="15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reeform 72">
                <a:extLst>
                  <a:ext uri="{FF2B5EF4-FFF2-40B4-BE49-F238E27FC236}">
                    <a16:creationId xmlns:a16="http://schemas.microsoft.com/office/drawing/2014/main" id="{7276C17C-A9E5-4C21-A6D6-CEE61D92A2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8136" y="-972359"/>
                <a:ext cx="285750" cy="385761"/>
              </a:xfrm>
              <a:custGeom>
                <a:avLst/>
                <a:gdLst/>
                <a:ahLst/>
                <a:cxnLst>
                  <a:cxn ang="0">
                    <a:pos x="63" y="0"/>
                  </a:cxn>
                  <a:cxn ang="0">
                    <a:pos x="46" y="15"/>
                  </a:cxn>
                  <a:cxn ang="0">
                    <a:pos x="58" y="42"/>
                  </a:cxn>
                  <a:cxn ang="0">
                    <a:pos x="78" y="17"/>
                  </a:cxn>
                  <a:cxn ang="0">
                    <a:pos x="63" y="0"/>
                  </a:cxn>
                  <a:cxn ang="0">
                    <a:pos x="82" y="150"/>
                  </a:cxn>
                  <a:cxn ang="0">
                    <a:pos x="32" y="150"/>
                  </a:cxn>
                  <a:cxn ang="0">
                    <a:pos x="35" y="82"/>
                  </a:cxn>
                  <a:cxn ang="0">
                    <a:pos x="19" y="96"/>
                  </a:cxn>
                  <a:cxn ang="0">
                    <a:pos x="7" y="95"/>
                  </a:cxn>
                  <a:cxn ang="0">
                    <a:pos x="1" y="42"/>
                  </a:cxn>
                  <a:cxn ang="0">
                    <a:pos x="15" y="41"/>
                  </a:cxn>
                  <a:cxn ang="0">
                    <a:pos x="19" y="74"/>
                  </a:cxn>
                  <a:cxn ang="0">
                    <a:pos x="24" y="70"/>
                  </a:cxn>
                  <a:cxn ang="0">
                    <a:pos x="38" y="56"/>
                  </a:cxn>
                  <a:cxn ang="0">
                    <a:pos x="40" y="53"/>
                  </a:cxn>
                  <a:cxn ang="0">
                    <a:pos x="52" y="47"/>
                  </a:cxn>
                  <a:cxn ang="0">
                    <a:pos x="47" y="71"/>
                  </a:cxn>
                  <a:cxn ang="0">
                    <a:pos x="54" y="52"/>
                  </a:cxn>
                  <a:cxn ang="0">
                    <a:pos x="57" y="52"/>
                  </a:cxn>
                  <a:cxn ang="0">
                    <a:pos x="53" y="75"/>
                  </a:cxn>
                  <a:cxn ang="0">
                    <a:pos x="67" y="47"/>
                  </a:cxn>
                  <a:cxn ang="0">
                    <a:pos x="83" y="52"/>
                  </a:cxn>
                  <a:cxn ang="0">
                    <a:pos x="85" y="55"/>
                  </a:cxn>
                  <a:cxn ang="0">
                    <a:pos x="86" y="55"/>
                  </a:cxn>
                  <a:cxn ang="0">
                    <a:pos x="110" y="95"/>
                  </a:cxn>
                  <a:cxn ang="0">
                    <a:pos x="95" y="142"/>
                  </a:cxn>
                  <a:cxn ang="0">
                    <a:pos x="82" y="146"/>
                  </a:cxn>
                  <a:cxn ang="0">
                    <a:pos x="82" y="150"/>
                  </a:cxn>
                  <a:cxn ang="0">
                    <a:pos x="82" y="133"/>
                  </a:cxn>
                  <a:cxn ang="0">
                    <a:pos x="83" y="88"/>
                  </a:cxn>
                  <a:cxn ang="0">
                    <a:pos x="83" y="84"/>
                  </a:cxn>
                  <a:cxn ang="0">
                    <a:pos x="86" y="87"/>
                  </a:cxn>
                  <a:cxn ang="0">
                    <a:pos x="93" y="97"/>
                  </a:cxn>
                  <a:cxn ang="0">
                    <a:pos x="82" y="133"/>
                  </a:cxn>
                </a:cxnLst>
                <a:rect l="0" t="0" r="r" b="b"/>
                <a:pathLst>
                  <a:path w="111" h="150">
                    <a:moveTo>
                      <a:pt x="63" y="0"/>
                    </a:moveTo>
                    <a:cubicBezTo>
                      <a:pt x="54" y="0"/>
                      <a:pt x="46" y="6"/>
                      <a:pt x="46" y="15"/>
                    </a:cubicBezTo>
                    <a:cubicBezTo>
                      <a:pt x="46" y="23"/>
                      <a:pt x="48" y="41"/>
                      <a:pt x="58" y="42"/>
                    </a:cubicBezTo>
                    <a:cubicBezTo>
                      <a:pt x="68" y="42"/>
                      <a:pt x="77" y="25"/>
                      <a:pt x="78" y="17"/>
                    </a:cubicBezTo>
                    <a:cubicBezTo>
                      <a:pt x="78" y="8"/>
                      <a:pt x="72" y="1"/>
                      <a:pt x="63" y="0"/>
                    </a:cubicBezTo>
                    <a:close/>
                    <a:moveTo>
                      <a:pt x="82" y="150"/>
                    </a:moveTo>
                    <a:cubicBezTo>
                      <a:pt x="32" y="150"/>
                      <a:pt x="32" y="150"/>
                      <a:pt x="32" y="150"/>
                    </a:cubicBezTo>
                    <a:cubicBezTo>
                      <a:pt x="33" y="135"/>
                      <a:pt x="33" y="105"/>
                      <a:pt x="35" y="82"/>
                    </a:cubicBezTo>
                    <a:cubicBezTo>
                      <a:pt x="30" y="87"/>
                      <a:pt x="24" y="92"/>
                      <a:pt x="19" y="96"/>
                    </a:cubicBezTo>
                    <a:cubicBezTo>
                      <a:pt x="15" y="99"/>
                      <a:pt x="10" y="99"/>
                      <a:pt x="7" y="95"/>
                    </a:cubicBezTo>
                    <a:cubicBezTo>
                      <a:pt x="0" y="87"/>
                      <a:pt x="2" y="54"/>
                      <a:pt x="1" y="42"/>
                    </a:cubicBezTo>
                    <a:cubicBezTo>
                      <a:pt x="0" y="31"/>
                      <a:pt x="14" y="30"/>
                      <a:pt x="15" y="41"/>
                    </a:cubicBezTo>
                    <a:cubicBezTo>
                      <a:pt x="15" y="52"/>
                      <a:pt x="17" y="64"/>
                      <a:pt x="19" y="74"/>
                    </a:cubicBezTo>
                    <a:cubicBezTo>
                      <a:pt x="21" y="73"/>
                      <a:pt x="22" y="71"/>
                      <a:pt x="24" y="70"/>
                    </a:cubicBezTo>
                    <a:cubicBezTo>
                      <a:pt x="28" y="65"/>
                      <a:pt x="33" y="61"/>
                      <a:pt x="38" y="56"/>
                    </a:cubicBezTo>
                    <a:cubicBezTo>
                      <a:pt x="39" y="55"/>
                      <a:pt x="39" y="54"/>
                      <a:pt x="40" y="53"/>
                    </a:cubicBezTo>
                    <a:cubicBezTo>
                      <a:pt x="42" y="51"/>
                      <a:pt x="47" y="49"/>
                      <a:pt x="52" y="47"/>
                    </a:cubicBezTo>
                    <a:cubicBezTo>
                      <a:pt x="49" y="52"/>
                      <a:pt x="47" y="63"/>
                      <a:pt x="47" y="71"/>
                    </a:cubicBezTo>
                    <a:cubicBezTo>
                      <a:pt x="48" y="67"/>
                      <a:pt x="52" y="56"/>
                      <a:pt x="54" y="52"/>
                    </a:cubicBezTo>
                    <a:cubicBezTo>
                      <a:pt x="57" y="52"/>
                      <a:pt x="57" y="52"/>
                      <a:pt x="57" y="52"/>
                    </a:cubicBezTo>
                    <a:cubicBezTo>
                      <a:pt x="55" y="59"/>
                      <a:pt x="53" y="68"/>
                      <a:pt x="53" y="75"/>
                    </a:cubicBezTo>
                    <a:cubicBezTo>
                      <a:pt x="57" y="64"/>
                      <a:pt x="62" y="53"/>
                      <a:pt x="67" y="47"/>
                    </a:cubicBezTo>
                    <a:cubicBezTo>
                      <a:pt x="71" y="48"/>
                      <a:pt x="81" y="50"/>
                      <a:pt x="83" y="52"/>
                    </a:cubicBezTo>
                    <a:cubicBezTo>
                      <a:pt x="85" y="53"/>
                      <a:pt x="85" y="54"/>
                      <a:pt x="85" y="55"/>
                    </a:cubicBezTo>
                    <a:cubicBezTo>
                      <a:pt x="86" y="55"/>
                      <a:pt x="86" y="55"/>
                      <a:pt x="86" y="55"/>
                    </a:cubicBezTo>
                    <a:cubicBezTo>
                      <a:pt x="91" y="63"/>
                      <a:pt x="109" y="87"/>
                      <a:pt x="110" y="95"/>
                    </a:cubicBezTo>
                    <a:cubicBezTo>
                      <a:pt x="111" y="102"/>
                      <a:pt x="98" y="134"/>
                      <a:pt x="95" y="142"/>
                    </a:cubicBezTo>
                    <a:cubicBezTo>
                      <a:pt x="92" y="149"/>
                      <a:pt x="86" y="149"/>
                      <a:pt x="82" y="146"/>
                    </a:cubicBezTo>
                    <a:cubicBezTo>
                      <a:pt x="82" y="147"/>
                      <a:pt x="82" y="149"/>
                      <a:pt x="82" y="150"/>
                    </a:cubicBezTo>
                    <a:close/>
                    <a:moveTo>
                      <a:pt x="82" y="133"/>
                    </a:moveTo>
                    <a:cubicBezTo>
                      <a:pt x="82" y="118"/>
                      <a:pt x="83" y="104"/>
                      <a:pt x="83" y="88"/>
                    </a:cubicBezTo>
                    <a:cubicBezTo>
                      <a:pt x="83" y="84"/>
                      <a:pt x="83" y="84"/>
                      <a:pt x="83" y="84"/>
                    </a:cubicBezTo>
                    <a:cubicBezTo>
                      <a:pt x="86" y="87"/>
                      <a:pt x="86" y="87"/>
                      <a:pt x="86" y="87"/>
                    </a:cubicBezTo>
                    <a:cubicBezTo>
                      <a:pt x="88" y="90"/>
                      <a:pt x="90" y="94"/>
                      <a:pt x="93" y="97"/>
                    </a:cubicBezTo>
                    <a:cubicBezTo>
                      <a:pt x="89" y="111"/>
                      <a:pt x="87" y="121"/>
                      <a:pt x="82" y="13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8FF0BA7-8834-4768-BDE2-D96A6CF0E307}"/>
                </a:ext>
              </a:extLst>
            </p:cNvPr>
            <p:cNvSpPr txBox="1"/>
            <p:nvPr/>
          </p:nvSpPr>
          <p:spPr>
            <a:xfrm>
              <a:off x="8517801" y="3844768"/>
              <a:ext cx="2523317" cy="2033146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b="1" dirty="0">
                  <a:solidFill>
                    <a:srgbClr val="19944F"/>
                  </a:solidFill>
                </a:rPr>
                <a:t>Skills</a:t>
              </a:r>
              <a:endParaRPr lang="de-DE" sz="1600" b="1" dirty="0">
                <a:solidFill>
                  <a:srgbClr val="19944F"/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de-DE" sz="1600" dirty="0">
                  <a:solidFill>
                    <a:srgbClr val="19944F"/>
                  </a:solidFill>
                </a:rPr>
                <a:t>Mit sehr unterschiedlichen Skills &amp; Erfahrungen </a:t>
              </a:r>
              <a:br>
                <a:rPr lang="de-DE" sz="1600" dirty="0">
                  <a:solidFill>
                    <a:srgbClr val="19944F"/>
                  </a:solidFill>
                </a:rPr>
              </a:br>
              <a:r>
                <a:rPr lang="de-DE" sz="1600" dirty="0">
                  <a:solidFill>
                    <a:srgbClr val="19944F"/>
                  </a:solidFill>
                </a:rPr>
                <a:t>war die initiale Aufgabenverteilung nicht einfach. Dafür haben wir </a:t>
              </a:r>
              <a:r>
                <a:rPr lang="de-DE" sz="1600" b="1" dirty="0">
                  <a:solidFill>
                    <a:srgbClr val="19944F"/>
                  </a:solidFill>
                </a:rPr>
                <a:t>viel neues gelernt</a:t>
              </a:r>
              <a:r>
                <a:rPr lang="de-DE" sz="1600" dirty="0">
                  <a:solidFill>
                    <a:srgbClr val="19944F"/>
                  </a:solidFill>
                </a:rPr>
                <a:t>.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050DBAD-C84A-44D0-B7F5-C9078EAE3DBA}"/>
              </a:ext>
            </a:extLst>
          </p:cNvPr>
          <p:cNvGrpSpPr/>
          <p:nvPr/>
        </p:nvGrpSpPr>
        <p:grpSpPr>
          <a:xfrm>
            <a:off x="1155512" y="1979571"/>
            <a:ext cx="2523317" cy="3825693"/>
            <a:chOff x="1249298" y="2052221"/>
            <a:chExt cx="2523317" cy="3825693"/>
          </a:xfrm>
        </p:grpSpPr>
        <p:grpSp>
          <p:nvGrpSpPr>
            <p:cNvPr id="5" name="Group 125">
              <a:extLst>
                <a:ext uri="{FF2B5EF4-FFF2-40B4-BE49-F238E27FC236}">
                  <a16:creationId xmlns:a16="http://schemas.microsoft.com/office/drawing/2014/main" id="{926D53FB-5F20-40EC-B4B5-A2FD9B8FF695}"/>
                </a:ext>
              </a:extLst>
            </p:cNvPr>
            <p:cNvGrpSpPr/>
            <p:nvPr/>
          </p:nvGrpSpPr>
          <p:grpSpPr>
            <a:xfrm>
              <a:off x="1692354" y="2052221"/>
              <a:ext cx="1645782" cy="1381030"/>
              <a:chOff x="1869059" y="3534568"/>
              <a:chExt cx="828675" cy="735808"/>
            </a:xfrm>
            <a:solidFill>
              <a:srgbClr val="19944F"/>
            </a:solidFill>
          </p:grpSpPr>
          <p:grpSp>
            <p:nvGrpSpPr>
              <p:cNvPr id="11" name="Group 114">
                <a:extLst>
                  <a:ext uri="{FF2B5EF4-FFF2-40B4-BE49-F238E27FC236}">
                    <a16:creationId xmlns:a16="http://schemas.microsoft.com/office/drawing/2014/main" id="{95A13648-95A6-40B2-863E-1AC4F01663E5}"/>
                  </a:ext>
                </a:extLst>
              </p:cNvPr>
              <p:cNvGrpSpPr/>
              <p:nvPr/>
            </p:nvGrpSpPr>
            <p:grpSpPr>
              <a:xfrm>
                <a:off x="1869059" y="3535363"/>
                <a:ext cx="828675" cy="735013"/>
                <a:chOff x="625475" y="3535363"/>
                <a:chExt cx="828675" cy="735013"/>
              </a:xfrm>
              <a:grpFill/>
            </p:grpSpPr>
            <p:sp>
              <p:nvSpPr>
                <p:cNvPr id="13" name="Freeform 41">
                  <a:extLst>
                    <a:ext uri="{FF2B5EF4-FFF2-40B4-BE49-F238E27FC236}">
                      <a16:creationId xmlns:a16="http://schemas.microsoft.com/office/drawing/2014/main" id="{47F60262-A7AE-464A-B20D-A7B006799A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1513" y="3535363"/>
                  <a:ext cx="735013" cy="484188"/>
                </a:xfrm>
                <a:custGeom>
                  <a:avLst/>
                  <a:gdLst/>
                  <a:ahLst/>
                  <a:cxnLst>
                    <a:cxn ang="0">
                      <a:pos x="231" y="21"/>
                    </a:cxn>
                    <a:cxn ang="0">
                      <a:pos x="230" y="34"/>
                    </a:cxn>
                    <a:cxn ang="0">
                      <a:pos x="491" y="34"/>
                    </a:cxn>
                    <a:cxn ang="0">
                      <a:pos x="491" y="311"/>
                    </a:cxn>
                    <a:cxn ang="0">
                      <a:pos x="65" y="311"/>
                    </a:cxn>
                    <a:cxn ang="0">
                      <a:pos x="34" y="311"/>
                    </a:cxn>
                    <a:cxn ang="0">
                      <a:pos x="34" y="158"/>
                    </a:cxn>
                    <a:cxn ang="0">
                      <a:pos x="34" y="34"/>
                    </a:cxn>
                    <a:cxn ang="0">
                      <a:pos x="62" y="34"/>
                    </a:cxn>
                    <a:cxn ang="0">
                      <a:pos x="65" y="34"/>
                    </a:cxn>
                    <a:cxn ang="0">
                      <a:pos x="152" y="34"/>
                    </a:cxn>
                    <a:cxn ang="0">
                      <a:pos x="148" y="21"/>
                    </a:cxn>
                    <a:cxn ang="0">
                      <a:pos x="139" y="0"/>
                    </a:cxn>
                    <a:cxn ang="0">
                      <a:pos x="65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158"/>
                    </a:cxn>
                    <a:cxn ang="0">
                      <a:pos x="0" y="345"/>
                    </a:cxn>
                    <a:cxn ang="0">
                      <a:pos x="65" y="345"/>
                    </a:cxn>
                    <a:cxn ang="0">
                      <a:pos x="524" y="345"/>
                    </a:cxn>
                    <a:cxn ang="0">
                      <a:pos x="524" y="0"/>
                    </a:cxn>
                    <a:cxn ang="0">
                      <a:pos x="225" y="0"/>
                    </a:cxn>
                    <a:cxn ang="0">
                      <a:pos x="229" y="10"/>
                    </a:cxn>
                    <a:cxn ang="0">
                      <a:pos x="231" y="21"/>
                    </a:cxn>
                  </a:cxnLst>
                  <a:rect l="0" t="0" r="r" b="b"/>
                  <a:pathLst>
                    <a:path w="524" h="345">
                      <a:moveTo>
                        <a:pt x="231" y="21"/>
                      </a:moveTo>
                      <a:cubicBezTo>
                        <a:pt x="231" y="26"/>
                        <a:pt x="231" y="30"/>
                        <a:pt x="230" y="34"/>
                      </a:cubicBezTo>
                      <a:cubicBezTo>
                        <a:pt x="491" y="34"/>
                        <a:pt x="491" y="34"/>
                        <a:pt x="491" y="34"/>
                      </a:cubicBezTo>
                      <a:cubicBezTo>
                        <a:pt x="491" y="311"/>
                        <a:pt x="491" y="311"/>
                        <a:pt x="491" y="311"/>
                      </a:cubicBezTo>
                      <a:cubicBezTo>
                        <a:pt x="65" y="311"/>
                        <a:pt x="65" y="311"/>
                        <a:pt x="65" y="311"/>
                      </a:cubicBezTo>
                      <a:cubicBezTo>
                        <a:pt x="34" y="311"/>
                        <a:pt x="34" y="311"/>
                        <a:pt x="34" y="311"/>
                      </a:cubicBezTo>
                      <a:cubicBezTo>
                        <a:pt x="34" y="158"/>
                        <a:pt x="34" y="158"/>
                        <a:pt x="34" y="158"/>
                      </a:cubicBez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62" y="34"/>
                        <a:pt x="62" y="34"/>
                        <a:pt x="62" y="34"/>
                      </a:cubicBezTo>
                      <a:cubicBezTo>
                        <a:pt x="65" y="34"/>
                        <a:pt x="65" y="34"/>
                        <a:pt x="65" y="34"/>
                      </a:cubicBezTo>
                      <a:cubicBezTo>
                        <a:pt x="152" y="34"/>
                        <a:pt x="152" y="34"/>
                        <a:pt x="152" y="34"/>
                      </a:cubicBezTo>
                      <a:cubicBezTo>
                        <a:pt x="151" y="30"/>
                        <a:pt x="149" y="26"/>
                        <a:pt x="148" y="21"/>
                      </a:cubicBezTo>
                      <a:cubicBezTo>
                        <a:pt x="145" y="14"/>
                        <a:pt x="142" y="7"/>
                        <a:pt x="139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158"/>
                        <a:pt x="0" y="158"/>
                        <a:pt x="0" y="158"/>
                      </a:cubicBezTo>
                      <a:cubicBezTo>
                        <a:pt x="0" y="345"/>
                        <a:pt x="0" y="345"/>
                        <a:pt x="0" y="345"/>
                      </a:cubicBezTo>
                      <a:cubicBezTo>
                        <a:pt x="65" y="345"/>
                        <a:pt x="65" y="345"/>
                        <a:pt x="65" y="345"/>
                      </a:cubicBezTo>
                      <a:cubicBezTo>
                        <a:pt x="524" y="345"/>
                        <a:pt x="524" y="345"/>
                        <a:pt x="524" y="345"/>
                      </a:cubicBezTo>
                      <a:cubicBezTo>
                        <a:pt x="524" y="0"/>
                        <a:pt x="524" y="0"/>
                        <a:pt x="524" y="0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6" y="3"/>
                        <a:pt x="228" y="7"/>
                        <a:pt x="229" y="10"/>
                      </a:cubicBezTo>
                      <a:cubicBezTo>
                        <a:pt x="230" y="14"/>
                        <a:pt x="231" y="18"/>
                        <a:pt x="231" y="2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4" name="Freeform 42">
                  <a:extLst>
                    <a:ext uri="{FF2B5EF4-FFF2-40B4-BE49-F238E27FC236}">
                      <a16:creationId xmlns:a16="http://schemas.microsoft.com/office/drawing/2014/main" id="{B717B1E5-F99A-464B-871E-947EF7358E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5475" y="4040188"/>
                  <a:ext cx="828675" cy="230188"/>
                </a:xfrm>
                <a:custGeom>
                  <a:avLst/>
                  <a:gdLst/>
                  <a:ahLst/>
                  <a:cxnLst>
                    <a:cxn ang="0">
                      <a:pos x="86" y="0"/>
                    </a:cxn>
                    <a:cxn ang="0">
                      <a:pos x="27" y="0"/>
                    </a:cxn>
                    <a:cxn ang="0">
                      <a:pos x="3" y="127"/>
                    </a:cxn>
                    <a:cxn ang="0">
                      <a:pos x="0" y="145"/>
                    </a:cxn>
                    <a:cxn ang="0">
                      <a:pos x="19" y="145"/>
                    </a:cxn>
                    <a:cxn ang="0">
                      <a:pos x="67" y="145"/>
                    </a:cxn>
                    <a:cxn ang="0">
                      <a:pos x="522" y="145"/>
                    </a:cxn>
                    <a:cxn ang="0">
                      <a:pos x="495" y="0"/>
                    </a:cxn>
                    <a:cxn ang="0">
                      <a:pos x="86" y="0"/>
                    </a:cxn>
                    <a:cxn ang="0">
                      <a:pos x="220" y="130"/>
                    </a:cxn>
                    <a:cxn ang="0">
                      <a:pos x="222" y="97"/>
                    </a:cxn>
                    <a:cxn ang="0">
                      <a:pos x="300" y="97"/>
                    </a:cxn>
                    <a:cxn ang="0">
                      <a:pos x="301" y="130"/>
                    </a:cxn>
                    <a:cxn ang="0">
                      <a:pos x="220" y="130"/>
                    </a:cxn>
                    <a:cxn ang="0">
                      <a:pos x="86" y="83"/>
                    </a:cxn>
                    <a:cxn ang="0">
                      <a:pos x="47" y="83"/>
                    </a:cxn>
                    <a:cxn ang="0">
                      <a:pos x="57" y="19"/>
                    </a:cxn>
                    <a:cxn ang="0">
                      <a:pos x="86" y="19"/>
                    </a:cxn>
                    <a:cxn ang="0">
                      <a:pos x="465" y="19"/>
                    </a:cxn>
                    <a:cxn ang="0">
                      <a:pos x="475" y="83"/>
                    </a:cxn>
                    <a:cxn ang="0">
                      <a:pos x="86" y="83"/>
                    </a:cxn>
                  </a:cxnLst>
                  <a:rect l="0" t="0" r="r" b="b"/>
                  <a:pathLst>
                    <a:path w="522" h="145">
                      <a:moveTo>
                        <a:pt x="86" y="0"/>
                      </a:moveTo>
                      <a:lnTo>
                        <a:pt x="27" y="0"/>
                      </a:lnTo>
                      <a:lnTo>
                        <a:pt x="3" y="127"/>
                      </a:lnTo>
                      <a:lnTo>
                        <a:pt x="0" y="145"/>
                      </a:lnTo>
                      <a:lnTo>
                        <a:pt x="19" y="145"/>
                      </a:lnTo>
                      <a:lnTo>
                        <a:pt x="67" y="145"/>
                      </a:lnTo>
                      <a:lnTo>
                        <a:pt x="522" y="145"/>
                      </a:lnTo>
                      <a:lnTo>
                        <a:pt x="495" y="0"/>
                      </a:lnTo>
                      <a:lnTo>
                        <a:pt x="86" y="0"/>
                      </a:lnTo>
                      <a:close/>
                      <a:moveTo>
                        <a:pt x="220" y="130"/>
                      </a:moveTo>
                      <a:lnTo>
                        <a:pt x="222" y="97"/>
                      </a:lnTo>
                      <a:lnTo>
                        <a:pt x="300" y="97"/>
                      </a:lnTo>
                      <a:lnTo>
                        <a:pt x="301" y="130"/>
                      </a:lnTo>
                      <a:lnTo>
                        <a:pt x="220" y="130"/>
                      </a:lnTo>
                      <a:close/>
                      <a:moveTo>
                        <a:pt x="86" y="83"/>
                      </a:moveTo>
                      <a:lnTo>
                        <a:pt x="47" y="83"/>
                      </a:lnTo>
                      <a:lnTo>
                        <a:pt x="57" y="19"/>
                      </a:lnTo>
                      <a:lnTo>
                        <a:pt x="86" y="19"/>
                      </a:lnTo>
                      <a:lnTo>
                        <a:pt x="465" y="19"/>
                      </a:lnTo>
                      <a:lnTo>
                        <a:pt x="475" y="83"/>
                      </a:lnTo>
                      <a:lnTo>
                        <a:pt x="86" y="8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" name="Rectangle 43">
                  <a:extLst>
                    <a:ext uri="{FF2B5EF4-FFF2-40B4-BE49-F238E27FC236}">
                      <a16:creationId xmlns:a16="http://schemas.microsoft.com/office/drawing/2014/main" id="{400C15B8-CAAD-4726-9A34-644AC3C8C0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7875" y="3714750"/>
                  <a:ext cx="33338" cy="1238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6" name="Rectangle 44">
                  <a:extLst>
                    <a:ext uri="{FF2B5EF4-FFF2-40B4-BE49-F238E27FC236}">
                      <a16:creationId xmlns:a16="http://schemas.microsoft.com/office/drawing/2014/main" id="{5797A6A9-FE1C-456A-B7FE-A760A582A3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22350" y="3714750"/>
                  <a:ext cx="33338" cy="1238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7" name="Rectangle 45">
                  <a:extLst>
                    <a:ext uri="{FF2B5EF4-FFF2-40B4-BE49-F238E27FC236}">
                      <a16:creationId xmlns:a16="http://schemas.microsoft.com/office/drawing/2014/main" id="{C12B2314-3062-4647-BD77-F808B5DFBF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68413" y="3714750"/>
                  <a:ext cx="33338" cy="1238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" name="Freeform 46">
                  <a:extLst>
                    <a:ext uri="{FF2B5EF4-FFF2-40B4-BE49-F238E27FC236}">
                      <a16:creationId xmlns:a16="http://schemas.microsoft.com/office/drawing/2014/main" id="{CC95F498-E1E7-42EE-8F7A-1753824D73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9313" y="3714750"/>
                  <a:ext cx="134938" cy="133350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48" y="96"/>
                    </a:cxn>
                    <a:cxn ang="0">
                      <a:pos x="96" y="48"/>
                    </a:cxn>
                    <a:cxn ang="0">
                      <a:pos x="48" y="0"/>
                    </a:cxn>
                    <a:cxn ang="0">
                      <a:pos x="0" y="48"/>
                    </a:cxn>
                    <a:cxn ang="0">
                      <a:pos x="48" y="16"/>
                    </a:cxn>
                    <a:cxn ang="0">
                      <a:pos x="80" y="48"/>
                    </a:cxn>
                    <a:cxn ang="0">
                      <a:pos x="48" y="80"/>
                    </a:cxn>
                    <a:cxn ang="0">
                      <a:pos x="16" y="48"/>
                    </a:cxn>
                    <a:cxn ang="0">
                      <a:pos x="48" y="16"/>
                    </a:cxn>
                  </a:cxnLst>
                  <a:rect l="0" t="0" r="r" b="b"/>
                  <a:pathLst>
                    <a:path w="96" h="96">
                      <a:moveTo>
                        <a:pt x="0" y="48"/>
                      </a:moveTo>
                      <a:cubicBezTo>
                        <a:pt x="0" y="74"/>
                        <a:pt x="22" y="96"/>
                        <a:pt x="48" y="96"/>
                      </a:cubicBezTo>
                      <a:cubicBezTo>
                        <a:pt x="75" y="96"/>
                        <a:pt x="96" y="74"/>
                        <a:pt x="96" y="48"/>
                      </a:cubicBezTo>
                      <a:cubicBezTo>
                        <a:pt x="96" y="21"/>
                        <a:pt x="75" y="0"/>
                        <a:pt x="48" y="0"/>
                      </a:cubicBezTo>
                      <a:cubicBezTo>
                        <a:pt x="22" y="0"/>
                        <a:pt x="0" y="21"/>
                        <a:pt x="0" y="48"/>
                      </a:cubicBezTo>
                      <a:close/>
                      <a:moveTo>
                        <a:pt x="48" y="16"/>
                      </a:moveTo>
                      <a:cubicBezTo>
                        <a:pt x="66" y="16"/>
                        <a:pt x="80" y="30"/>
                        <a:pt x="80" y="48"/>
                      </a:cubicBezTo>
                      <a:cubicBezTo>
                        <a:pt x="80" y="65"/>
                        <a:pt x="66" y="80"/>
                        <a:pt x="48" y="80"/>
                      </a:cubicBezTo>
                      <a:cubicBezTo>
                        <a:pt x="31" y="80"/>
                        <a:pt x="16" y="65"/>
                        <a:pt x="16" y="48"/>
                      </a:cubicBezTo>
                      <a:cubicBezTo>
                        <a:pt x="16" y="30"/>
                        <a:pt x="31" y="16"/>
                        <a:pt x="48" y="1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" name="Freeform 47">
                  <a:extLst>
                    <a:ext uri="{FF2B5EF4-FFF2-40B4-BE49-F238E27FC236}">
                      <a16:creationId xmlns:a16="http://schemas.microsoft.com/office/drawing/2014/main" id="{EDE1C9E9-2AD1-478A-98C9-819CDA7031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5375" y="3714750"/>
                  <a:ext cx="134938" cy="133350"/>
                </a:xfrm>
                <a:custGeom>
                  <a:avLst/>
                  <a:gdLst/>
                  <a:ahLst/>
                  <a:cxnLst>
                    <a:cxn ang="0">
                      <a:pos x="96" y="48"/>
                    </a:cxn>
                    <a:cxn ang="0">
                      <a:pos x="48" y="0"/>
                    </a:cxn>
                    <a:cxn ang="0">
                      <a:pos x="0" y="48"/>
                    </a:cxn>
                    <a:cxn ang="0">
                      <a:pos x="48" y="96"/>
                    </a:cxn>
                    <a:cxn ang="0">
                      <a:pos x="96" y="48"/>
                    </a:cxn>
                    <a:cxn ang="0">
                      <a:pos x="16" y="48"/>
                    </a:cxn>
                    <a:cxn ang="0">
                      <a:pos x="48" y="16"/>
                    </a:cxn>
                    <a:cxn ang="0">
                      <a:pos x="80" y="48"/>
                    </a:cxn>
                    <a:cxn ang="0">
                      <a:pos x="48" y="80"/>
                    </a:cxn>
                    <a:cxn ang="0">
                      <a:pos x="16" y="48"/>
                    </a:cxn>
                  </a:cxnLst>
                  <a:rect l="0" t="0" r="r" b="b"/>
                  <a:pathLst>
                    <a:path w="96" h="96">
                      <a:moveTo>
                        <a:pt x="96" y="48"/>
                      </a:moveTo>
                      <a:cubicBezTo>
                        <a:pt x="96" y="21"/>
                        <a:pt x="74" y="0"/>
                        <a:pt x="48" y="0"/>
                      </a:cubicBezTo>
                      <a:cubicBezTo>
                        <a:pt x="21" y="0"/>
                        <a:pt x="0" y="21"/>
                        <a:pt x="0" y="48"/>
                      </a:cubicBezTo>
                      <a:cubicBezTo>
                        <a:pt x="0" y="74"/>
                        <a:pt x="21" y="96"/>
                        <a:pt x="48" y="96"/>
                      </a:cubicBezTo>
                      <a:cubicBezTo>
                        <a:pt x="74" y="96"/>
                        <a:pt x="96" y="74"/>
                        <a:pt x="96" y="48"/>
                      </a:cubicBezTo>
                      <a:close/>
                      <a:moveTo>
                        <a:pt x="16" y="48"/>
                      </a:moveTo>
                      <a:cubicBezTo>
                        <a:pt x="16" y="30"/>
                        <a:pt x="30" y="16"/>
                        <a:pt x="48" y="16"/>
                      </a:cubicBezTo>
                      <a:cubicBezTo>
                        <a:pt x="65" y="16"/>
                        <a:pt x="80" y="30"/>
                        <a:pt x="80" y="48"/>
                      </a:cubicBezTo>
                      <a:cubicBezTo>
                        <a:pt x="80" y="65"/>
                        <a:pt x="65" y="80"/>
                        <a:pt x="48" y="80"/>
                      </a:cubicBezTo>
                      <a:cubicBezTo>
                        <a:pt x="30" y="80"/>
                        <a:pt x="16" y="65"/>
                        <a:pt x="16" y="4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sp>
            <p:nvSpPr>
              <p:cNvPr id="12" name="Rectangle 124">
                <a:extLst>
                  <a:ext uri="{FF2B5EF4-FFF2-40B4-BE49-F238E27FC236}">
                    <a16:creationId xmlns:a16="http://schemas.microsoft.com/office/drawing/2014/main" id="{875541FE-3F53-45D5-84F2-F29D2B78C84B}"/>
                  </a:ext>
                </a:extLst>
              </p:cNvPr>
              <p:cNvSpPr/>
              <p:nvPr/>
            </p:nvSpPr>
            <p:spPr>
              <a:xfrm>
                <a:off x="1914525" y="3534568"/>
                <a:ext cx="733425" cy="5771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B62BAF4-FAC0-4278-B8AB-4EBC162BBD59}"/>
                </a:ext>
              </a:extLst>
            </p:cNvPr>
            <p:cNvSpPr txBox="1"/>
            <p:nvPr/>
          </p:nvSpPr>
          <p:spPr>
            <a:xfrm>
              <a:off x="1249298" y="3844768"/>
              <a:ext cx="2523317" cy="2033146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b="1" dirty="0">
                  <a:solidFill>
                    <a:srgbClr val="19944F"/>
                  </a:solidFill>
                </a:rPr>
                <a:t>Konfiguration</a:t>
              </a:r>
              <a:endParaRPr lang="de-DE" sz="1600" b="1" dirty="0">
                <a:solidFill>
                  <a:srgbClr val="19944F"/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de-DE" sz="1600" dirty="0">
                  <a:solidFill>
                    <a:srgbClr val="19944F"/>
                  </a:solidFill>
                </a:rPr>
                <a:t>Das Setup des Technologie-Stacks zum Start der Implementierung hat </a:t>
              </a:r>
              <a:r>
                <a:rPr lang="de-DE" sz="1600" b="1" dirty="0">
                  <a:solidFill>
                    <a:srgbClr val="19944F"/>
                  </a:solidFill>
                </a:rPr>
                <a:t>Blut, Schweiß und Zeit </a:t>
              </a:r>
              <a:r>
                <a:rPr lang="de-DE" sz="1600" dirty="0">
                  <a:solidFill>
                    <a:srgbClr val="19944F"/>
                  </a:solidFill>
                </a:rPr>
                <a:t>gekostet.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A8D2790-DBB8-4E2E-B505-7D355A5F3A21}"/>
              </a:ext>
            </a:extLst>
          </p:cNvPr>
          <p:cNvGrpSpPr/>
          <p:nvPr/>
        </p:nvGrpSpPr>
        <p:grpSpPr>
          <a:xfrm>
            <a:off x="4834341" y="1997591"/>
            <a:ext cx="2523317" cy="3807673"/>
            <a:chOff x="4474302" y="2070241"/>
            <a:chExt cx="2523317" cy="3807673"/>
          </a:xfrm>
        </p:grpSpPr>
        <p:sp>
          <p:nvSpPr>
            <p:cNvPr id="36" name="Freeform 282">
              <a:extLst>
                <a:ext uri="{FF2B5EF4-FFF2-40B4-BE49-F238E27FC236}">
                  <a16:creationId xmlns:a16="http://schemas.microsoft.com/office/drawing/2014/main" id="{0F595ADD-3E2D-4A6A-A944-3D6585861A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7889" y="2070241"/>
              <a:ext cx="1296144" cy="1296144"/>
            </a:xfrm>
            <a:custGeom>
              <a:avLst/>
              <a:gdLst/>
              <a:ahLst/>
              <a:cxnLst>
                <a:cxn ang="0">
                  <a:pos x="816" y="2682"/>
                </a:cxn>
                <a:cxn ang="0">
                  <a:pos x="1037" y="2548"/>
                </a:cxn>
                <a:cxn ang="0">
                  <a:pos x="2057" y="1622"/>
                </a:cxn>
                <a:cxn ang="0">
                  <a:pos x="1323" y="2022"/>
                </a:cxn>
                <a:cxn ang="0">
                  <a:pos x="1317" y="2248"/>
                </a:cxn>
                <a:cxn ang="0">
                  <a:pos x="1202" y="2512"/>
                </a:cxn>
                <a:cxn ang="0">
                  <a:pos x="1568" y="2913"/>
                </a:cxn>
                <a:cxn ang="0">
                  <a:pos x="2103" y="2801"/>
                </a:cxn>
                <a:cxn ang="0">
                  <a:pos x="2537" y="2500"/>
                </a:cxn>
                <a:cxn ang="0">
                  <a:pos x="2821" y="2053"/>
                </a:cxn>
                <a:cxn ang="0">
                  <a:pos x="2551" y="1640"/>
                </a:cxn>
                <a:cxn ang="0">
                  <a:pos x="2334" y="1670"/>
                </a:cxn>
                <a:cxn ang="0">
                  <a:pos x="2900" y="1388"/>
                </a:cxn>
                <a:cxn ang="0">
                  <a:pos x="2831" y="1610"/>
                </a:cxn>
                <a:cxn ang="0">
                  <a:pos x="2900" y="1388"/>
                </a:cxn>
                <a:cxn ang="0">
                  <a:pos x="1184" y="1056"/>
                </a:cxn>
                <a:cxn ang="0">
                  <a:pos x="1123" y="1855"/>
                </a:cxn>
                <a:cxn ang="0">
                  <a:pos x="1589" y="1658"/>
                </a:cxn>
                <a:cxn ang="0">
                  <a:pos x="2128" y="1405"/>
                </a:cxn>
                <a:cxn ang="0">
                  <a:pos x="1887" y="1174"/>
                </a:cxn>
                <a:cxn ang="0">
                  <a:pos x="421" y="867"/>
                </a:cxn>
                <a:cxn ang="0">
                  <a:pos x="238" y="1379"/>
                </a:cxn>
                <a:cxn ang="0">
                  <a:pos x="273" y="1930"/>
                </a:cxn>
                <a:cxn ang="0">
                  <a:pos x="511" y="2398"/>
                </a:cxn>
                <a:cxn ang="0">
                  <a:pos x="786" y="2162"/>
                </a:cxn>
                <a:cxn ang="0">
                  <a:pos x="857" y="1939"/>
                </a:cxn>
                <a:cxn ang="0">
                  <a:pos x="954" y="1595"/>
                </a:cxn>
                <a:cxn ang="0">
                  <a:pos x="947" y="1003"/>
                </a:cxn>
                <a:cxn ang="0">
                  <a:pos x="722" y="819"/>
                </a:cxn>
                <a:cxn ang="0">
                  <a:pos x="1002" y="349"/>
                </a:cxn>
                <a:cxn ang="0">
                  <a:pos x="601" y="634"/>
                </a:cxn>
                <a:cxn ang="0">
                  <a:pos x="966" y="550"/>
                </a:cxn>
                <a:cxn ang="0">
                  <a:pos x="1150" y="507"/>
                </a:cxn>
                <a:cxn ang="0">
                  <a:pos x="1388" y="344"/>
                </a:cxn>
                <a:cxn ang="0">
                  <a:pos x="1388" y="705"/>
                </a:cxn>
                <a:cxn ang="0">
                  <a:pos x="1691" y="901"/>
                </a:cxn>
                <a:cxn ang="0">
                  <a:pos x="2302" y="1141"/>
                </a:cxn>
                <a:cxn ang="0">
                  <a:pos x="2518" y="1143"/>
                </a:cxn>
                <a:cxn ang="0">
                  <a:pos x="2758" y="1241"/>
                </a:cxn>
                <a:cxn ang="0">
                  <a:pos x="2688" y="824"/>
                </a:cxn>
                <a:cxn ang="0">
                  <a:pos x="2324" y="457"/>
                </a:cxn>
                <a:cxn ang="0">
                  <a:pos x="1841" y="252"/>
                </a:cxn>
                <a:cxn ang="0">
                  <a:pos x="1772" y="13"/>
                </a:cxn>
                <a:cxn ang="0">
                  <a:pos x="2332" y="198"/>
                </a:cxn>
                <a:cxn ang="0">
                  <a:pos x="2775" y="566"/>
                </a:cxn>
                <a:cxn ang="0">
                  <a:pos x="3056" y="1073"/>
                </a:cxn>
                <a:cxn ang="0">
                  <a:pos x="3133" y="1671"/>
                </a:cxn>
                <a:cxn ang="0">
                  <a:pos x="2983" y="2245"/>
                </a:cxn>
                <a:cxn ang="0">
                  <a:pos x="2642" y="2711"/>
                </a:cxn>
                <a:cxn ang="0">
                  <a:pos x="2156" y="3022"/>
                </a:cxn>
                <a:cxn ang="0">
                  <a:pos x="1568" y="3136"/>
                </a:cxn>
                <a:cxn ang="0">
                  <a:pos x="980" y="3022"/>
                </a:cxn>
                <a:cxn ang="0">
                  <a:pos x="494" y="2711"/>
                </a:cxn>
                <a:cxn ang="0">
                  <a:pos x="153" y="2245"/>
                </a:cxn>
                <a:cxn ang="0">
                  <a:pos x="3" y="1671"/>
                </a:cxn>
                <a:cxn ang="0">
                  <a:pos x="80" y="1073"/>
                </a:cxn>
                <a:cxn ang="0">
                  <a:pos x="361" y="566"/>
                </a:cxn>
                <a:cxn ang="0">
                  <a:pos x="804" y="198"/>
                </a:cxn>
                <a:cxn ang="0">
                  <a:pos x="1364" y="13"/>
                </a:cxn>
              </a:cxnLst>
              <a:rect l="0" t="0" r="r" b="b"/>
              <a:pathLst>
                <a:path w="3136" h="3136">
                  <a:moveTo>
                    <a:pt x="908" y="2360"/>
                  </a:moveTo>
                  <a:lnTo>
                    <a:pt x="832" y="2433"/>
                  </a:lnTo>
                  <a:lnTo>
                    <a:pt x="758" y="2506"/>
                  </a:lnTo>
                  <a:lnTo>
                    <a:pt x="687" y="2582"/>
                  </a:lnTo>
                  <a:lnTo>
                    <a:pt x="750" y="2633"/>
                  </a:lnTo>
                  <a:lnTo>
                    <a:pt x="816" y="2682"/>
                  </a:lnTo>
                  <a:lnTo>
                    <a:pt x="885" y="2726"/>
                  </a:lnTo>
                  <a:lnTo>
                    <a:pt x="957" y="2765"/>
                  </a:lnTo>
                  <a:lnTo>
                    <a:pt x="1031" y="2801"/>
                  </a:lnTo>
                  <a:lnTo>
                    <a:pt x="1109" y="2831"/>
                  </a:lnTo>
                  <a:lnTo>
                    <a:pt x="1071" y="2690"/>
                  </a:lnTo>
                  <a:lnTo>
                    <a:pt x="1037" y="2548"/>
                  </a:lnTo>
                  <a:lnTo>
                    <a:pt x="1010" y="2402"/>
                  </a:lnTo>
                  <a:lnTo>
                    <a:pt x="974" y="2393"/>
                  </a:lnTo>
                  <a:lnTo>
                    <a:pt x="939" y="2378"/>
                  </a:lnTo>
                  <a:lnTo>
                    <a:pt x="908" y="2360"/>
                  </a:lnTo>
                  <a:close/>
                  <a:moveTo>
                    <a:pt x="2188" y="1571"/>
                  </a:moveTo>
                  <a:lnTo>
                    <a:pt x="2057" y="1622"/>
                  </a:lnTo>
                  <a:lnTo>
                    <a:pt x="1927" y="1678"/>
                  </a:lnTo>
                  <a:lnTo>
                    <a:pt x="1802" y="1737"/>
                  </a:lnTo>
                  <a:lnTo>
                    <a:pt x="1678" y="1803"/>
                  </a:lnTo>
                  <a:lnTo>
                    <a:pt x="1556" y="1871"/>
                  </a:lnTo>
                  <a:lnTo>
                    <a:pt x="1439" y="1945"/>
                  </a:lnTo>
                  <a:lnTo>
                    <a:pt x="1323" y="2022"/>
                  </a:lnTo>
                  <a:lnTo>
                    <a:pt x="1334" y="2056"/>
                  </a:lnTo>
                  <a:lnTo>
                    <a:pt x="1341" y="2091"/>
                  </a:lnTo>
                  <a:lnTo>
                    <a:pt x="1344" y="2128"/>
                  </a:lnTo>
                  <a:lnTo>
                    <a:pt x="1341" y="2170"/>
                  </a:lnTo>
                  <a:lnTo>
                    <a:pt x="1331" y="2210"/>
                  </a:lnTo>
                  <a:lnTo>
                    <a:pt x="1317" y="2248"/>
                  </a:lnTo>
                  <a:lnTo>
                    <a:pt x="1298" y="2283"/>
                  </a:lnTo>
                  <a:lnTo>
                    <a:pt x="1273" y="2314"/>
                  </a:lnTo>
                  <a:lnTo>
                    <a:pt x="1244" y="2341"/>
                  </a:lnTo>
                  <a:lnTo>
                    <a:pt x="1213" y="2365"/>
                  </a:lnTo>
                  <a:lnTo>
                    <a:pt x="1177" y="2384"/>
                  </a:lnTo>
                  <a:lnTo>
                    <a:pt x="1202" y="2512"/>
                  </a:lnTo>
                  <a:lnTo>
                    <a:pt x="1230" y="2638"/>
                  </a:lnTo>
                  <a:lnTo>
                    <a:pt x="1263" y="2763"/>
                  </a:lnTo>
                  <a:lnTo>
                    <a:pt x="1300" y="2885"/>
                  </a:lnTo>
                  <a:lnTo>
                    <a:pt x="1388" y="2900"/>
                  </a:lnTo>
                  <a:lnTo>
                    <a:pt x="1477" y="2909"/>
                  </a:lnTo>
                  <a:lnTo>
                    <a:pt x="1568" y="2913"/>
                  </a:lnTo>
                  <a:lnTo>
                    <a:pt x="1662" y="2908"/>
                  </a:lnTo>
                  <a:lnTo>
                    <a:pt x="1755" y="2900"/>
                  </a:lnTo>
                  <a:lnTo>
                    <a:pt x="1846" y="2883"/>
                  </a:lnTo>
                  <a:lnTo>
                    <a:pt x="1934" y="2861"/>
                  </a:lnTo>
                  <a:lnTo>
                    <a:pt x="2020" y="2834"/>
                  </a:lnTo>
                  <a:lnTo>
                    <a:pt x="2103" y="2801"/>
                  </a:lnTo>
                  <a:lnTo>
                    <a:pt x="2184" y="2763"/>
                  </a:lnTo>
                  <a:lnTo>
                    <a:pt x="2262" y="2719"/>
                  </a:lnTo>
                  <a:lnTo>
                    <a:pt x="2336" y="2671"/>
                  </a:lnTo>
                  <a:lnTo>
                    <a:pt x="2406" y="2618"/>
                  </a:lnTo>
                  <a:lnTo>
                    <a:pt x="2474" y="2561"/>
                  </a:lnTo>
                  <a:lnTo>
                    <a:pt x="2537" y="2500"/>
                  </a:lnTo>
                  <a:lnTo>
                    <a:pt x="2595" y="2434"/>
                  </a:lnTo>
                  <a:lnTo>
                    <a:pt x="2651" y="2364"/>
                  </a:lnTo>
                  <a:lnTo>
                    <a:pt x="2701" y="2291"/>
                  </a:lnTo>
                  <a:lnTo>
                    <a:pt x="2745" y="2215"/>
                  </a:lnTo>
                  <a:lnTo>
                    <a:pt x="2787" y="2136"/>
                  </a:lnTo>
                  <a:lnTo>
                    <a:pt x="2821" y="2053"/>
                  </a:lnTo>
                  <a:lnTo>
                    <a:pt x="2851" y="1969"/>
                  </a:lnTo>
                  <a:lnTo>
                    <a:pt x="2875" y="1881"/>
                  </a:lnTo>
                  <a:lnTo>
                    <a:pt x="2780" y="1790"/>
                  </a:lnTo>
                  <a:lnTo>
                    <a:pt x="2682" y="1703"/>
                  </a:lnTo>
                  <a:lnTo>
                    <a:pt x="2581" y="1618"/>
                  </a:lnTo>
                  <a:lnTo>
                    <a:pt x="2551" y="1640"/>
                  </a:lnTo>
                  <a:lnTo>
                    <a:pt x="2518" y="1657"/>
                  </a:lnTo>
                  <a:lnTo>
                    <a:pt x="2484" y="1669"/>
                  </a:lnTo>
                  <a:lnTo>
                    <a:pt x="2447" y="1678"/>
                  </a:lnTo>
                  <a:lnTo>
                    <a:pt x="2408" y="1680"/>
                  </a:lnTo>
                  <a:lnTo>
                    <a:pt x="2371" y="1678"/>
                  </a:lnTo>
                  <a:lnTo>
                    <a:pt x="2334" y="1670"/>
                  </a:lnTo>
                  <a:lnTo>
                    <a:pt x="2300" y="1658"/>
                  </a:lnTo>
                  <a:lnTo>
                    <a:pt x="2269" y="1642"/>
                  </a:lnTo>
                  <a:lnTo>
                    <a:pt x="2238" y="1621"/>
                  </a:lnTo>
                  <a:lnTo>
                    <a:pt x="2212" y="1598"/>
                  </a:lnTo>
                  <a:lnTo>
                    <a:pt x="2188" y="1571"/>
                  </a:lnTo>
                  <a:close/>
                  <a:moveTo>
                    <a:pt x="2900" y="1388"/>
                  </a:moveTo>
                  <a:lnTo>
                    <a:pt x="2792" y="1406"/>
                  </a:lnTo>
                  <a:lnTo>
                    <a:pt x="2686" y="1428"/>
                  </a:lnTo>
                  <a:lnTo>
                    <a:pt x="2681" y="1454"/>
                  </a:lnTo>
                  <a:lnTo>
                    <a:pt x="2675" y="1479"/>
                  </a:lnTo>
                  <a:lnTo>
                    <a:pt x="2754" y="1544"/>
                  </a:lnTo>
                  <a:lnTo>
                    <a:pt x="2831" y="1610"/>
                  </a:lnTo>
                  <a:lnTo>
                    <a:pt x="2907" y="1680"/>
                  </a:lnTo>
                  <a:lnTo>
                    <a:pt x="2907" y="1680"/>
                  </a:lnTo>
                  <a:lnTo>
                    <a:pt x="2910" y="1624"/>
                  </a:lnTo>
                  <a:lnTo>
                    <a:pt x="2913" y="1568"/>
                  </a:lnTo>
                  <a:lnTo>
                    <a:pt x="2909" y="1477"/>
                  </a:lnTo>
                  <a:lnTo>
                    <a:pt x="2900" y="1388"/>
                  </a:lnTo>
                  <a:close/>
                  <a:moveTo>
                    <a:pt x="1341" y="954"/>
                  </a:moveTo>
                  <a:lnTo>
                    <a:pt x="1316" y="983"/>
                  </a:lnTo>
                  <a:lnTo>
                    <a:pt x="1287" y="1008"/>
                  </a:lnTo>
                  <a:lnTo>
                    <a:pt x="1255" y="1028"/>
                  </a:lnTo>
                  <a:lnTo>
                    <a:pt x="1220" y="1045"/>
                  </a:lnTo>
                  <a:lnTo>
                    <a:pt x="1184" y="1056"/>
                  </a:lnTo>
                  <a:lnTo>
                    <a:pt x="1162" y="1189"/>
                  </a:lnTo>
                  <a:lnTo>
                    <a:pt x="1143" y="1324"/>
                  </a:lnTo>
                  <a:lnTo>
                    <a:pt x="1130" y="1459"/>
                  </a:lnTo>
                  <a:lnTo>
                    <a:pt x="1123" y="1597"/>
                  </a:lnTo>
                  <a:lnTo>
                    <a:pt x="1119" y="1736"/>
                  </a:lnTo>
                  <a:lnTo>
                    <a:pt x="1123" y="1855"/>
                  </a:lnTo>
                  <a:lnTo>
                    <a:pt x="1154" y="1863"/>
                  </a:lnTo>
                  <a:lnTo>
                    <a:pt x="1186" y="1876"/>
                  </a:lnTo>
                  <a:lnTo>
                    <a:pt x="1214" y="1893"/>
                  </a:lnTo>
                  <a:lnTo>
                    <a:pt x="1336" y="1810"/>
                  </a:lnTo>
                  <a:lnTo>
                    <a:pt x="1460" y="1732"/>
                  </a:lnTo>
                  <a:lnTo>
                    <a:pt x="1589" y="1658"/>
                  </a:lnTo>
                  <a:lnTo>
                    <a:pt x="1720" y="1590"/>
                  </a:lnTo>
                  <a:lnTo>
                    <a:pt x="1854" y="1527"/>
                  </a:lnTo>
                  <a:lnTo>
                    <a:pt x="1990" y="1467"/>
                  </a:lnTo>
                  <a:lnTo>
                    <a:pt x="2129" y="1414"/>
                  </a:lnTo>
                  <a:lnTo>
                    <a:pt x="2128" y="1409"/>
                  </a:lnTo>
                  <a:lnTo>
                    <a:pt x="2128" y="1405"/>
                  </a:lnTo>
                  <a:lnTo>
                    <a:pt x="2128" y="1400"/>
                  </a:lnTo>
                  <a:lnTo>
                    <a:pt x="2129" y="1370"/>
                  </a:lnTo>
                  <a:lnTo>
                    <a:pt x="2135" y="1341"/>
                  </a:lnTo>
                  <a:lnTo>
                    <a:pt x="2144" y="1313"/>
                  </a:lnTo>
                  <a:lnTo>
                    <a:pt x="2017" y="1241"/>
                  </a:lnTo>
                  <a:lnTo>
                    <a:pt x="1887" y="1174"/>
                  </a:lnTo>
                  <a:lnTo>
                    <a:pt x="1755" y="1111"/>
                  </a:lnTo>
                  <a:lnTo>
                    <a:pt x="1619" y="1053"/>
                  </a:lnTo>
                  <a:lnTo>
                    <a:pt x="1481" y="1001"/>
                  </a:lnTo>
                  <a:lnTo>
                    <a:pt x="1341" y="954"/>
                  </a:lnTo>
                  <a:close/>
                  <a:moveTo>
                    <a:pt x="470" y="793"/>
                  </a:moveTo>
                  <a:lnTo>
                    <a:pt x="421" y="867"/>
                  </a:lnTo>
                  <a:lnTo>
                    <a:pt x="377" y="946"/>
                  </a:lnTo>
                  <a:lnTo>
                    <a:pt x="337" y="1027"/>
                  </a:lnTo>
                  <a:lnTo>
                    <a:pt x="304" y="1111"/>
                  </a:lnTo>
                  <a:lnTo>
                    <a:pt x="276" y="1198"/>
                  </a:lnTo>
                  <a:lnTo>
                    <a:pt x="254" y="1288"/>
                  </a:lnTo>
                  <a:lnTo>
                    <a:pt x="238" y="1379"/>
                  </a:lnTo>
                  <a:lnTo>
                    <a:pt x="228" y="1472"/>
                  </a:lnTo>
                  <a:lnTo>
                    <a:pt x="223" y="1568"/>
                  </a:lnTo>
                  <a:lnTo>
                    <a:pt x="227" y="1661"/>
                  </a:lnTo>
                  <a:lnTo>
                    <a:pt x="236" y="1753"/>
                  </a:lnTo>
                  <a:lnTo>
                    <a:pt x="252" y="1842"/>
                  </a:lnTo>
                  <a:lnTo>
                    <a:pt x="273" y="1930"/>
                  </a:lnTo>
                  <a:lnTo>
                    <a:pt x="301" y="2014"/>
                  </a:lnTo>
                  <a:lnTo>
                    <a:pt x="332" y="2097"/>
                  </a:lnTo>
                  <a:lnTo>
                    <a:pt x="370" y="2177"/>
                  </a:lnTo>
                  <a:lnTo>
                    <a:pt x="412" y="2253"/>
                  </a:lnTo>
                  <a:lnTo>
                    <a:pt x="459" y="2327"/>
                  </a:lnTo>
                  <a:lnTo>
                    <a:pt x="511" y="2398"/>
                  </a:lnTo>
                  <a:lnTo>
                    <a:pt x="567" y="2464"/>
                  </a:lnTo>
                  <a:lnTo>
                    <a:pt x="643" y="2383"/>
                  </a:lnTo>
                  <a:lnTo>
                    <a:pt x="722" y="2303"/>
                  </a:lnTo>
                  <a:lnTo>
                    <a:pt x="802" y="2226"/>
                  </a:lnTo>
                  <a:lnTo>
                    <a:pt x="793" y="2195"/>
                  </a:lnTo>
                  <a:lnTo>
                    <a:pt x="786" y="2162"/>
                  </a:lnTo>
                  <a:lnTo>
                    <a:pt x="784" y="2128"/>
                  </a:lnTo>
                  <a:lnTo>
                    <a:pt x="787" y="2085"/>
                  </a:lnTo>
                  <a:lnTo>
                    <a:pt x="797" y="2045"/>
                  </a:lnTo>
                  <a:lnTo>
                    <a:pt x="812" y="2007"/>
                  </a:lnTo>
                  <a:lnTo>
                    <a:pt x="832" y="1971"/>
                  </a:lnTo>
                  <a:lnTo>
                    <a:pt x="857" y="1939"/>
                  </a:lnTo>
                  <a:lnTo>
                    <a:pt x="886" y="1912"/>
                  </a:lnTo>
                  <a:lnTo>
                    <a:pt x="919" y="1888"/>
                  </a:lnTo>
                  <a:lnTo>
                    <a:pt x="955" y="1870"/>
                  </a:lnTo>
                  <a:lnTo>
                    <a:pt x="953" y="1803"/>
                  </a:lnTo>
                  <a:lnTo>
                    <a:pt x="952" y="1736"/>
                  </a:lnTo>
                  <a:lnTo>
                    <a:pt x="954" y="1595"/>
                  </a:lnTo>
                  <a:lnTo>
                    <a:pt x="962" y="1455"/>
                  </a:lnTo>
                  <a:lnTo>
                    <a:pt x="975" y="1316"/>
                  </a:lnTo>
                  <a:lnTo>
                    <a:pt x="992" y="1179"/>
                  </a:lnTo>
                  <a:lnTo>
                    <a:pt x="1015" y="1043"/>
                  </a:lnTo>
                  <a:lnTo>
                    <a:pt x="979" y="1026"/>
                  </a:lnTo>
                  <a:lnTo>
                    <a:pt x="947" y="1003"/>
                  </a:lnTo>
                  <a:lnTo>
                    <a:pt x="917" y="977"/>
                  </a:lnTo>
                  <a:lnTo>
                    <a:pt x="892" y="947"/>
                  </a:lnTo>
                  <a:lnTo>
                    <a:pt x="872" y="913"/>
                  </a:lnTo>
                  <a:lnTo>
                    <a:pt x="856" y="876"/>
                  </a:lnTo>
                  <a:lnTo>
                    <a:pt x="846" y="837"/>
                  </a:lnTo>
                  <a:lnTo>
                    <a:pt x="722" y="819"/>
                  </a:lnTo>
                  <a:lnTo>
                    <a:pt x="597" y="803"/>
                  </a:lnTo>
                  <a:lnTo>
                    <a:pt x="470" y="793"/>
                  </a:lnTo>
                  <a:close/>
                  <a:moveTo>
                    <a:pt x="1239" y="265"/>
                  </a:moveTo>
                  <a:lnTo>
                    <a:pt x="1157" y="288"/>
                  </a:lnTo>
                  <a:lnTo>
                    <a:pt x="1078" y="316"/>
                  </a:lnTo>
                  <a:lnTo>
                    <a:pt x="1002" y="349"/>
                  </a:lnTo>
                  <a:lnTo>
                    <a:pt x="928" y="386"/>
                  </a:lnTo>
                  <a:lnTo>
                    <a:pt x="857" y="428"/>
                  </a:lnTo>
                  <a:lnTo>
                    <a:pt x="788" y="473"/>
                  </a:lnTo>
                  <a:lnTo>
                    <a:pt x="723" y="523"/>
                  </a:lnTo>
                  <a:lnTo>
                    <a:pt x="660" y="578"/>
                  </a:lnTo>
                  <a:lnTo>
                    <a:pt x="601" y="634"/>
                  </a:lnTo>
                  <a:lnTo>
                    <a:pt x="734" y="649"/>
                  </a:lnTo>
                  <a:lnTo>
                    <a:pt x="865" y="670"/>
                  </a:lnTo>
                  <a:lnTo>
                    <a:pt x="884" y="634"/>
                  </a:lnTo>
                  <a:lnTo>
                    <a:pt x="908" y="602"/>
                  </a:lnTo>
                  <a:lnTo>
                    <a:pt x="935" y="574"/>
                  </a:lnTo>
                  <a:lnTo>
                    <a:pt x="966" y="550"/>
                  </a:lnTo>
                  <a:lnTo>
                    <a:pt x="1001" y="531"/>
                  </a:lnTo>
                  <a:lnTo>
                    <a:pt x="1038" y="516"/>
                  </a:lnTo>
                  <a:lnTo>
                    <a:pt x="1078" y="507"/>
                  </a:lnTo>
                  <a:lnTo>
                    <a:pt x="1119" y="504"/>
                  </a:lnTo>
                  <a:lnTo>
                    <a:pt x="1135" y="505"/>
                  </a:lnTo>
                  <a:lnTo>
                    <a:pt x="1150" y="507"/>
                  </a:lnTo>
                  <a:lnTo>
                    <a:pt x="1192" y="385"/>
                  </a:lnTo>
                  <a:lnTo>
                    <a:pt x="1239" y="265"/>
                  </a:lnTo>
                  <a:close/>
                  <a:moveTo>
                    <a:pt x="1568" y="223"/>
                  </a:moveTo>
                  <a:lnTo>
                    <a:pt x="1501" y="226"/>
                  </a:lnTo>
                  <a:lnTo>
                    <a:pt x="1436" y="231"/>
                  </a:lnTo>
                  <a:lnTo>
                    <a:pt x="1388" y="344"/>
                  </a:lnTo>
                  <a:lnTo>
                    <a:pt x="1344" y="458"/>
                  </a:lnTo>
                  <a:lnTo>
                    <a:pt x="1304" y="575"/>
                  </a:lnTo>
                  <a:lnTo>
                    <a:pt x="1332" y="602"/>
                  </a:lnTo>
                  <a:lnTo>
                    <a:pt x="1355" y="633"/>
                  </a:lnTo>
                  <a:lnTo>
                    <a:pt x="1374" y="668"/>
                  </a:lnTo>
                  <a:lnTo>
                    <a:pt x="1388" y="705"/>
                  </a:lnTo>
                  <a:lnTo>
                    <a:pt x="1397" y="743"/>
                  </a:lnTo>
                  <a:lnTo>
                    <a:pt x="1400" y="784"/>
                  </a:lnTo>
                  <a:lnTo>
                    <a:pt x="1400" y="790"/>
                  </a:lnTo>
                  <a:lnTo>
                    <a:pt x="1399" y="796"/>
                  </a:lnTo>
                  <a:lnTo>
                    <a:pt x="1546" y="846"/>
                  </a:lnTo>
                  <a:lnTo>
                    <a:pt x="1691" y="901"/>
                  </a:lnTo>
                  <a:lnTo>
                    <a:pt x="1833" y="962"/>
                  </a:lnTo>
                  <a:lnTo>
                    <a:pt x="1972" y="1028"/>
                  </a:lnTo>
                  <a:lnTo>
                    <a:pt x="2109" y="1100"/>
                  </a:lnTo>
                  <a:lnTo>
                    <a:pt x="2241" y="1176"/>
                  </a:lnTo>
                  <a:lnTo>
                    <a:pt x="2271" y="1157"/>
                  </a:lnTo>
                  <a:lnTo>
                    <a:pt x="2302" y="1141"/>
                  </a:lnTo>
                  <a:lnTo>
                    <a:pt x="2336" y="1129"/>
                  </a:lnTo>
                  <a:lnTo>
                    <a:pt x="2371" y="1123"/>
                  </a:lnTo>
                  <a:lnTo>
                    <a:pt x="2408" y="1119"/>
                  </a:lnTo>
                  <a:lnTo>
                    <a:pt x="2447" y="1123"/>
                  </a:lnTo>
                  <a:lnTo>
                    <a:pt x="2484" y="1130"/>
                  </a:lnTo>
                  <a:lnTo>
                    <a:pt x="2518" y="1143"/>
                  </a:lnTo>
                  <a:lnTo>
                    <a:pt x="2551" y="1160"/>
                  </a:lnTo>
                  <a:lnTo>
                    <a:pt x="2580" y="1180"/>
                  </a:lnTo>
                  <a:lnTo>
                    <a:pt x="2607" y="1205"/>
                  </a:lnTo>
                  <a:lnTo>
                    <a:pt x="2631" y="1232"/>
                  </a:lnTo>
                  <a:lnTo>
                    <a:pt x="2651" y="1263"/>
                  </a:lnTo>
                  <a:lnTo>
                    <a:pt x="2758" y="1241"/>
                  </a:lnTo>
                  <a:lnTo>
                    <a:pt x="2867" y="1223"/>
                  </a:lnTo>
                  <a:lnTo>
                    <a:pt x="2841" y="1138"/>
                  </a:lnTo>
                  <a:lnTo>
                    <a:pt x="2810" y="1055"/>
                  </a:lnTo>
                  <a:lnTo>
                    <a:pt x="2775" y="975"/>
                  </a:lnTo>
                  <a:lnTo>
                    <a:pt x="2733" y="898"/>
                  </a:lnTo>
                  <a:lnTo>
                    <a:pt x="2688" y="824"/>
                  </a:lnTo>
                  <a:lnTo>
                    <a:pt x="2637" y="753"/>
                  </a:lnTo>
                  <a:lnTo>
                    <a:pt x="2582" y="686"/>
                  </a:lnTo>
                  <a:lnTo>
                    <a:pt x="2524" y="623"/>
                  </a:lnTo>
                  <a:lnTo>
                    <a:pt x="2461" y="563"/>
                  </a:lnTo>
                  <a:lnTo>
                    <a:pt x="2393" y="508"/>
                  </a:lnTo>
                  <a:lnTo>
                    <a:pt x="2324" y="457"/>
                  </a:lnTo>
                  <a:lnTo>
                    <a:pt x="2250" y="410"/>
                  </a:lnTo>
                  <a:lnTo>
                    <a:pt x="2174" y="368"/>
                  </a:lnTo>
                  <a:lnTo>
                    <a:pt x="2095" y="331"/>
                  </a:lnTo>
                  <a:lnTo>
                    <a:pt x="2012" y="299"/>
                  </a:lnTo>
                  <a:lnTo>
                    <a:pt x="1927" y="272"/>
                  </a:lnTo>
                  <a:lnTo>
                    <a:pt x="1841" y="252"/>
                  </a:lnTo>
                  <a:lnTo>
                    <a:pt x="1752" y="236"/>
                  </a:lnTo>
                  <a:lnTo>
                    <a:pt x="1660" y="227"/>
                  </a:lnTo>
                  <a:lnTo>
                    <a:pt x="1568" y="223"/>
                  </a:lnTo>
                  <a:close/>
                  <a:moveTo>
                    <a:pt x="1568" y="0"/>
                  </a:moveTo>
                  <a:lnTo>
                    <a:pt x="1671" y="3"/>
                  </a:lnTo>
                  <a:lnTo>
                    <a:pt x="1772" y="13"/>
                  </a:lnTo>
                  <a:lnTo>
                    <a:pt x="1872" y="29"/>
                  </a:lnTo>
                  <a:lnTo>
                    <a:pt x="1969" y="52"/>
                  </a:lnTo>
                  <a:lnTo>
                    <a:pt x="2063" y="80"/>
                  </a:lnTo>
                  <a:lnTo>
                    <a:pt x="2156" y="114"/>
                  </a:lnTo>
                  <a:lnTo>
                    <a:pt x="2245" y="153"/>
                  </a:lnTo>
                  <a:lnTo>
                    <a:pt x="2332" y="198"/>
                  </a:lnTo>
                  <a:lnTo>
                    <a:pt x="2414" y="247"/>
                  </a:lnTo>
                  <a:lnTo>
                    <a:pt x="2494" y="303"/>
                  </a:lnTo>
                  <a:lnTo>
                    <a:pt x="2570" y="361"/>
                  </a:lnTo>
                  <a:lnTo>
                    <a:pt x="2642" y="425"/>
                  </a:lnTo>
                  <a:lnTo>
                    <a:pt x="2711" y="494"/>
                  </a:lnTo>
                  <a:lnTo>
                    <a:pt x="2775" y="566"/>
                  </a:lnTo>
                  <a:lnTo>
                    <a:pt x="2833" y="642"/>
                  </a:lnTo>
                  <a:lnTo>
                    <a:pt x="2889" y="722"/>
                  </a:lnTo>
                  <a:lnTo>
                    <a:pt x="2938" y="804"/>
                  </a:lnTo>
                  <a:lnTo>
                    <a:pt x="2983" y="891"/>
                  </a:lnTo>
                  <a:lnTo>
                    <a:pt x="3022" y="980"/>
                  </a:lnTo>
                  <a:lnTo>
                    <a:pt x="3056" y="1073"/>
                  </a:lnTo>
                  <a:lnTo>
                    <a:pt x="3084" y="1167"/>
                  </a:lnTo>
                  <a:lnTo>
                    <a:pt x="3107" y="1264"/>
                  </a:lnTo>
                  <a:lnTo>
                    <a:pt x="3123" y="1364"/>
                  </a:lnTo>
                  <a:lnTo>
                    <a:pt x="3133" y="1465"/>
                  </a:lnTo>
                  <a:lnTo>
                    <a:pt x="3136" y="1568"/>
                  </a:lnTo>
                  <a:lnTo>
                    <a:pt x="3133" y="1671"/>
                  </a:lnTo>
                  <a:lnTo>
                    <a:pt x="3123" y="1772"/>
                  </a:lnTo>
                  <a:lnTo>
                    <a:pt x="3107" y="1872"/>
                  </a:lnTo>
                  <a:lnTo>
                    <a:pt x="3084" y="1969"/>
                  </a:lnTo>
                  <a:lnTo>
                    <a:pt x="3056" y="2063"/>
                  </a:lnTo>
                  <a:lnTo>
                    <a:pt x="3022" y="2156"/>
                  </a:lnTo>
                  <a:lnTo>
                    <a:pt x="2983" y="2245"/>
                  </a:lnTo>
                  <a:lnTo>
                    <a:pt x="2938" y="2332"/>
                  </a:lnTo>
                  <a:lnTo>
                    <a:pt x="2889" y="2414"/>
                  </a:lnTo>
                  <a:lnTo>
                    <a:pt x="2833" y="2494"/>
                  </a:lnTo>
                  <a:lnTo>
                    <a:pt x="2775" y="2570"/>
                  </a:lnTo>
                  <a:lnTo>
                    <a:pt x="2711" y="2642"/>
                  </a:lnTo>
                  <a:lnTo>
                    <a:pt x="2642" y="2711"/>
                  </a:lnTo>
                  <a:lnTo>
                    <a:pt x="2570" y="2775"/>
                  </a:lnTo>
                  <a:lnTo>
                    <a:pt x="2494" y="2833"/>
                  </a:lnTo>
                  <a:lnTo>
                    <a:pt x="2414" y="2889"/>
                  </a:lnTo>
                  <a:lnTo>
                    <a:pt x="2332" y="2938"/>
                  </a:lnTo>
                  <a:lnTo>
                    <a:pt x="2245" y="2983"/>
                  </a:lnTo>
                  <a:lnTo>
                    <a:pt x="2156" y="3022"/>
                  </a:lnTo>
                  <a:lnTo>
                    <a:pt x="2063" y="3056"/>
                  </a:lnTo>
                  <a:lnTo>
                    <a:pt x="1969" y="3084"/>
                  </a:lnTo>
                  <a:lnTo>
                    <a:pt x="1872" y="3107"/>
                  </a:lnTo>
                  <a:lnTo>
                    <a:pt x="1772" y="3123"/>
                  </a:lnTo>
                  <a:lnTo>
                    <a:pt x="1671" y="3133"/>
                  </a:lnTo>
                  <a:lnTo>
                    <a:pt x="1568" y="3136"/>
                  </a:lnTo>
                  <a:lnTo>
                    <a:pt x="1465" y="3133"/>
                  </a:lnTo>
                  <a:lnTo>
                    <a:pt x="1364" y="3123"/>
                  </a:lnTo>
                  <a:lnTo>
                    <a:pt x="1264" y="3107"/>
                  </a:lnTo>
                  <a:lnTo>
                    <a:pt x="1167" y="3084"/>
                  </a:lnTo>
                  <a:lnTo>
                    <a:pt x="1073" y="3056"/>
                  </a:lnTo>
                  <a:lnTo>
                    <a:pt x="980" y="3022"/>
                  </a:lnTo>
                  <a:lnTo>
                    <a:pt x="891" y="2983"/>
                  </a:lnTo>
                  <a:lnTo>
                    <a:pt x="804" y="2938"/>
                  </a:lnTo>
                  <a:lnTo>
                    <a:pt x="722" y="2889"/>
                  </a:lnTo>
                  <a:lnTo>
                    <a:pt x="642" y="2833"/>
                  </a:lnTo>
                  <a:lnTo>
                    <a:pt x="566" y="2775"/>
                  </a:lnTo>
                  <a:lnTo>
                    <a:pt x="494" y="2711"/>
                  </a:lnTo>
                  <a:lnTo>
                    <a:pt x="425" y="2642"/>
                  </a:lnTo>
                  <a:lnTo>
                    <a:pt x="361" y="2570"/>
                  </a:lnTo>
                  <a:lnTo>
                    <a:pt x="303" y="2494"/>
                  </a:lnTo>
                  <a:lnTo>
                    <a:pt x="247" y="2414"/>
                  </a:lnTo>
                  <a:lnTo>
                    <a:pt x="198" y="2332"/>
                  </a:lnTo>
                  <a:lnTo>
                    <a:pt x="153" y="2245"/>
                  </a:lnTo>
                  <a:lnTo>
                    <a:pt x="114" y="2156"/>
                  </a:lnTo>
                  <a:lnTo>
                    <a:pt x="80" y="2063"/>
                  </a:lnTo>
                  <a:lnTo>
                    <a:pt x="52" y="1969"/>
                  </a:lnTo>
                  <a:lnTo>
                    <a:pt x="29" y="1872"/>
                  </a:lnTo>
                  <a:lnTo>
                    <a:pt x="13" y="1772"/>
                  </a:lnTo>
                  <a:lnTo>
                    <a:pt x="3" y="1671"/>
                  </a:lnTo>
                  <a:lnTo>
                    <a:pt x="0" y="1568"/>
                  </a:lnTo>
                  <a:lnTo>
                    <a:pt x="3" y="1465"/>
                  </a:lnTo>
                  <a:lnTo>
                    <a:pt x="13" y="1364"/>
                  </a:lnTo>
                  <a:lnTo>
                    <a:pt x="29" y="1264"/>
                  </a:lnTo>
                  <a:lnTo>
                    <a:pt x="52" y="1167"/>
                  </a:lnTo>
                  <a:lnTo>
                    <a:pt x="80" y="1073"/>
                  </a:lnTo>
                  <a:lnTo>
                    <a:pt x="114" y="980"/>
                  </a:lnTo>
                  <a:lnTo>
                    <a:pt x="153" y="891"/>
                  </a:lnTo>
                  <a:lnTo>
                    <a:pt x="198" y="804"/>
                  </a:lnTo>
                  <a:lnTo>
                    <a:pt x="247" y="722"/>
                  </a:lnTo>
                  <a:lnTo>
                    <a:pt x="303" y="642"/>
                  </a:lnTo>
                  <a:lnTo>
                    <a:pt x="361" y="566"/>
                  </a:lnTo>
                  <a:lnTo>
                    <a:pt x="425" y="494"/>
                  </a:lnTo>
                  <a:lnTo>
                    <a:pt x="494" y="425"/>
                  </a:lnTo>
                  <a:lnTo>
                    <a:pt x="566" y="361"/>
                  </a:lnTo>
                  <a:lnTo>
                    <a:pt x="642" y="303"/>
                  </a:lnTo>
                  <a:lnTo>
                    <a:pt x="722" y="247"/>
                  </a:lnTo>
                  <a:lnTo>
                    <a:pt x="804" y="198"/>
                  </a:lnTo>
                  <a:lnTo>
                    <a:pt x="891" y="153"/>
                  </a:lnTo>
                  <a:lnTo>
                    <a:pt x="980" y="114"/>
                  </a:lnTo>
                  <a:lnTo>
                    <a:pt x="1073" y="80"/>
                  </a:lnTo>
                  <a:lnTo>
                    <a:pt x="1167" y="52"/>
                  </a:lnTo>
                  <a:lnTo>
                    <a:pt x="1264" y="29"/>
                  </a:lnTo>
                  <a:lnTo>
                    <a:pt x="1364" y="13"/>
                  </a:lnTo>
                  <a:lnTo>
                    <a:pt x="1465" y="3"/>
                  </a:lnTo>
                  <a:lnTo>
                    <a:pt x="1568" y="0"/>
                  </a:lnTo>
                  <a:close/>
                </a:path>
              </a:pathLst>
            </a:custGeom>
            <a:solidFill>
              <a:srgbClr val="19944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338D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53BAB42-EBBB-4B7F-8ACA-62090F0ABA63}"/>
                </a:ext>
              </a:extLst>
            </p:cNvPr>
            <p:cNvSpPr txBox="1"/>
            <p:nvPr/>
          </p:nvSpPr>
          <p:spPr>
            <a:xfrm>
              <a:off x="4474302" y="3844768"/>
              <a:ext cx="2523317" cy="2033146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de-DE" b="1" dirty="0">
                  <a:solidFill>
                    <a:srgbClr val="19944F"/>
                  </a:solidFill>
                </a:rPr>
                <a:t>Business Technology Alignment</a:t>
              </a:r>
              <a:endParaRPr lang="de-DE" sz="1600" b="1" dirty="0">
                <a:solidFill>
                  <a:srgbClr val="19944F"/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de-DE" sz="1600" dirty="0">
                  <a:solidFill>
                    <a:srgbClr val="19944F"/>
                  </a:solidFill>
                </a:rPr>
                <a:t>Einige Funktionalitäten konnten mit ausgewählten Technologien </a:t>
              </a:r>
              <a:r>
                <a:rPr lang="de-DE" sz="1600" b="1" dirty="0">
                  <a:solidFill>
                    <a:srgbClr val="19944F"/>
                  </a:solidFill>
                </a:rPr>
                <a:t>nicht wie anfangs gedacht</a:t>
              </a:r>
              <a:r>
                <a:rPr lang="de-DE" sz="1600" dirty="0">
                  <a:solidFill>
                    <a:srgbClr val="19944F"/>
                  </a:solidFill>
                </a:rPr>
                <a:t> abgedeckt werd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8241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5.1"/>
  <p:tag name="TYPE" val="ScreenWide"/>
  <p:tag name="KEYWORD" val="SCREENWIDE"/>
  <p:tag name="TEMPLATEVERSION" val="07/12/2017 14:53:37"/>
  <p:tag name="THINKCELLPRESENTATIONDONOTDELETE" val="&lt;?xml version=&quot;1.0&quot; encoding=&quot;UTF-16&quot; standalone=&quot;yes&quot;?&gt;&lt;root reqver=&quot;23045&quot;&gt;&lt;version val=&quot;2517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iMvghQummc9aYeLdW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3.4643"/>
  <p:tag name="ADV_LEFT" val="175.979"/>
  <p:tag name="ADV_HEIGHT" val="29.19685"/>
  <p:tag name="ADV_WIDTH" val="610.7717"/>
  <p:tag name="ADV_COPYRIGHT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5_KPMG_Widescreen_16:9 02/02/2016">
  <a:themeElements>
    <a:clrScheme name="New KPMG Colour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91DA"/>
      </a:hlink>
      <a:folHlink>
        <a:srgbClr val="0091DA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15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Wide screen.pptx" id="{12E14597-AC1D-49F7-B982-51AA488162DC}" vid="{CD4168C3-9C66-4019-BC45-6543012588F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476B88D6563A244A26D4D8E75DC33B2" ma:contentTypeVersion="0" ma:contentTypeDescription="Create a new document." ma:contentTypeScope="" ma:versionID="e9b1d5cde89828db0e5f45751549895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DF540C8-9E53-4445-B831-370F6585ECA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FF587F0-A107-4E3F-88C1-D0585C63E62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E72C6BC-8533-4F93-A07C-1BCD605A6C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88</Words>
  <Application>Microsoft Office PowerPoint</Application>
  <PresentationFormat>Widescreen</PresentationFormat>
  <Paragraphs>85</Paragraphs>
  <Slides>12</Slides>
  <Notes>0</Notes>
  <HiddenSlides>2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Arial Black</vt:lpstr>
      <vt:lpstr>Calibri</vt:lpstr>
      <vt:lpstr>Univers for KPMG Light</vt:lpstr>
      <vt:lpstr>Wingdings</vt:lpstr>
      <vt:lpstr>35_KPMG_Widescreen_16:9 02/02/2016</vt:lpstr>
      <vt:lpstr>think-cell Slide</vt:lpstr>
      <vt:lpstr>dein Social Life in digital</vt:lpstr>
      <vt:lpstr>Wie sieht der Alltag im Home-Office aus?</vt:lpstr>
      <vt:lpstr>Unsere Lösung ist ein innovatives Kommunikationstool. communify.io ist…</vt:lpstr>
      <vt:lpstr>Warum Unternehmen von communify.io profitieren: Tuckman‘s Modell zur Team- &amp; Gruppenentwicklung (1965)</vt:lpstr>
      <vt:lpstr>Weil 1 Prototyp mehr als 1000 Slides sagt.</vt:lpstr>
      <vt:lpstr>[Parallel MVP] Das sind unsere Features</vt:lpstr>
      <vt:lpstr>[Parallel Code Review] Das ist die Technologie dahinter</vt:lpstr>
      <vt:lpstr>Der Weg von einer Idee zu unserem MVP</vt:lpstr>
      <vt:lpstr>Die größten Hürden auf unserem Weg</vt:lpstr>
      <vt:lpstr>Das Team hinter communify.io</vt:lpstr>
      <vt:lpstr>Diese Features folgen in der Zukunft</vt:lpstr>
      <vt:lpstr>PowerPoint Presentation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 Strategieentwicklung 2025</dc:title>
  <dc:creator>Zapryanov, Delcho</dc:creator>
  <cp:lastModifiedBy>Naresh Visuvalingam</cp:lastModifiedBy>
  <cp:revision>1124</cp:revision>
  <cp:lastPrinted>2018-11-16T14:33:26Z</cp:lastPrinted>
  <dcterms:created xsi:type="dcterms:W3CDTF">2018-01-18T15:38:37Z</dcterms:created>
  <dcterms:modified xsi:type="dcterms:W3CDTF">2020-11-08T10:48:33Z</dcterms:modified>
  <cp:category>KPMG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76B88D6563A244A26D4D8E75DC33B2</vt:lpwstr>
  </property>
</Properties>
</file>